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7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7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3" r:id="rId18"/>
    <p:sldMasterId id="2147483817" r:id="rId19"/>
    <p:sldMasterId id="2147483812" r:id="rId20"/>
  </p:sldMasterIdLst>
  <p:notesMasterIdLst>
    <p:notesMasterId r:id="rId37"/>
  </p:notesMasterIdLst>
  <p:handoutMasterIdLst>
    <p:handoutMasterId r:id="rId38"/>
  </p:handoutMasterIdLst>
  <p:sldIdLst>
    <p:sldId id="449" r:id="rId21"/>
    <p:sldId id="344" r:id="rId22"/>
    <p:sldId id="450" r:id="rId23"/>
    <p:sldId id="2147376378" r:id="rId24"/>
    <p:sldId id="2147376416" r:id="rId25"/>
    <p:sldId id="2145708263" r:id="rId26"/>
    <p:sldId id="2147376394" r:id="rId27"/>
    <p:sldId id="2147376460" r:id="rId28"/>
    <p:sldId id="2147376459" r:id="rId29"/>
    <p:sldId id="2147375749" r:id="rId30"/>
    <p:sldId id="2147377031" r:id="rId31"/>
    <p:sldId id="2147375411" r:id="rId32"/>
    <p:sldId id="503" r:id="rId33"/>
    <p:sldId id="2147377032" r:id="rId34"/>
    <p:sldId id="2146849411" r:id="rId35"/>
    <p:sldId id="448" r:id="rId36"/>
  </p:sldIdLst>
  <p:sldSz cx="12195175" cy="6858000"/>
  <p:notesSz cx="6858000" cy="9144000"/>
  <p:custDataLst>
    <p:tags r:id="rId39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5A"/>
    <a:srgbClr val="FF0000"/>
    <a:srgbClr val="0F46A7"/>
    <a:srgbClr val="970A82"/>
    <a:srgbClr val="FF3399"/>
    <a:srgbClr val="FFFFFF"/>
    <a:srgbClr val="FEE3A1"/>
    <a:srgbClr val="FFF1D0"/>
    <a:srgbClr val="FFF8E7"/>
    <a:srgbClr val="FECE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E35BD5-F021-47F5-87D1-371A0D523D80}" v="3" dt="2022-10-20T01:36:14.014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0" d="100"/>
          <a:sy n="90" d="100"/>
        </p:scale>
        <p:origin x="4258" y="1022"/>
      </p:cViewPr>
      <p:guideLst>
        <p:guide pos="384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1.xml"/><Relationship Id="rId26" Type="http://schemas.openxmlformats.org/officeDocument/2006/relationships/slide" Target="slides/slide6.xml"/><Relationship Id="rId39" Type="http://schemas.openxmlformats.org/officeDocument/2006/relationships/tags" Target="tags/tag1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theme" Target="theme/theme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2.xml"/><Relationship Id="rId31" Type="http://schemas.openxmlformats.org/officeDocument/2006/relationships/slide" Target="slides/slide11.xml"/><Relationship Id="rId44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tableStyles" Target="tableStyle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handoutMaster" Target="handoutMasters/handoutMaster1.xml"/><Relationship Id="rId20" Type="http://schemas.openxmlformats.org/officeDocument/2006/relationships/slideMaster" Target="slideMasters/slideMaster3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itha Kamath" userId="c3525f0c-0cc9-4f43-aa0c-c729584a25e9" providerId="ADAL" clId="{FDE35BD5-F021-47F5-87D1-371A0D523D80}"/>
    <pc:docChg chg="addSld modSld">
      <pc:chgData name="Amitha Kamath" userId="c3525f0c-0cc9-4f43-aa0c-c729584a25e9" providerId="ADAL" clId="{FDE35BD5-F021-47F5-87D1-371A0D523D80}" dt="2022-10-20T01:37:56.977" v="53" actId="20577"/>
      <pc:docMkLst>
        <pc:docMk/>
      </pc:docMkLst>
      <pc:sldChg chg="modSp mod">
        <pc:chgData name="Amitha Kamath" userId="c3525f0c-0cc9-4f43-aa0c-c729584a25e9" providerId="ADAL" clId="{FDE35BD5-F021-47F5-87D1-371A0D523D80}" dt="2022-10-19T18:24:51.816" v="25" actId="20577"/>
        <pc:sldMkLst>
          <pc:docMk/>
          <pc:sldMk cId="0" sldId="344"/>
        </pc:sldMkLst>
        <pc:spChg chg="mod">
          <ac:chgData name="Amitha Kamath" userId="c3525f0c-0cc9-4f43-aa0c-c729584a25e9" providerId="ADAL" clId="{FDE35BD5-F021-47F5-87D1-371A0D523D80}" dt="2022-10-19T18:24:51.816" v="25" actId="20577"/>
          <ac:spMkLst>
            <pc:docMk/>
            <pc:sldMk cId="0" sldId="344"/>
            <ac:spMk id="3" creationId="{00000000-0000-0000-0000-000000000000}"/>
          </ac:spMkLst>
        </pc:spChg>
      </pc:sldChg>
      <pc:sldChg chg="modSp mod">
        <pc:chgData name="Amitha Kamath" userId="c3525f0c-0cc9-4f43-aa0c-c729584a25e9" providerId="ADAL" clId="{FDE35BD5-F021-47F5-87D1-371A0D523D80}" dt="2022-10-19T18:24:16.805" v="5" actId="20577"/>
        <pc:sldMkLst>
          <pc:docMk/>
          <pc:sldMk cId="3614524426" sldId="449"/>
        </pc:sldMkLst>
        <pc:spChg chg="mod">
          <ac:chgData name="Amitha Kamath" userId="c3525f0c-0cc9-4f43-aa0c-c729584a25e9" providerId="ADAL" clId="{FDE35BD5-F021-47F5-87D1-371A0D523D80}" dt="2022-10-19T18:24:16.805" v="5" actId="20577"/>
          <ac:spMkLst>
            <pc:docMk/>
            <pc:sldMk cId="3614524426" sldId="449"/>
            <ac:spMk id="8" creationId="{00000000-0000-0000-0000-000000000000}"/>
          </ac:spMkLst>
        </pc:spChg>
      </pc:sldChg>
      <pc:sldChg chg="modSp mod">
        <pc:chgData name="Amitha Kamath" userId="c3525f0c-0cc9-4f43-aa0c-c729584a25e9" providerId="ADAL" clId="{FDE35BD5-F021-47F5-87D1-371A0D523D80}" dt="2022-10-19T18:25:02.374" v="27" actId="20577"/>
        <pc:sldMkLst>
          <pc:docMk/>
          <pc:sldMk cId="917131152" sldId="450"/>
        </pc:sldMkLst>
        <pc:spChg chg="mod">
          <ac:chgData name="Amitha Kamath" userId="c3525f0c-0cc9-4f43-aa0c-c729584a25e9" providerId="ADAL" clId="{FDE35BD5-F021-47F5-87D1-371A0D523D80}" dt="2022-10-19T18:25:02.374" v="27" actId="20577"/>
          <ac:spMkLst>
            <pc:docMk/>
            <pc:sldMk cId="917131152" sldId="450"/>
            <ac:spMk id="3" creationId="{6EC46871-C60A-0B74-6C0B-9FC12D31CEDB}"/>
          </ac:spMkLst>
        </pc:spChg>
      </pc:sldChg>
      <pc:sldChg chg="modSp mod">
        <pc:chgData name="Amitha Kamath" userId="c3525f0c-0cc9-4f43-aa0c-c729584a25e9" providerId="ADAL" clId="{FDE35BD5-F021-47F5-87D1-371A0D523D80}" dt="2022-10-19T18:24:36.237" v="23" actId="20577"/>
        <pc:sldMkLst>
          <pc:docMk/>
          <pc:sldMk cId="2610662271" sldId="2147376416"/>
        </pc:sldMkLst>
        <pc:spChg chg="mod">
          <ac:chgData name="Amitha Kamath" userId="c3525f0c-0cc9-4f43-aa0c-c729584a25e9" providerId="ADAL" clId="{FDE35BD5-F021-47F5-87D1-371A0D523D80}" dt="2022-10-19T18:24:36.237" v="23" actId="20577"/>
          <ac:spMkLst>
            <pc:docMk/>
            <pc:sldMk cId="2610662271" sldId="2147376416"/>
            <ac:spMk id="2" creationId="{506AC0C9-D4A3-4A6C-B3E6-24AC6D296583}"/>
          </ac:spMkLst>
        </pc:spChg>
      </pc:sldChg>
      <pc:sldChg chg="addSp delSp">
        <pc:chgData name="Amitha Kamath" userId="c3525f0c-0cc9-4f43-aa0c-c729584a25e9" providerId="ADAL" clId="{FDE35BD5-F021-47F5-87D1-371A0D523D80}" dt="2022-10-20T01:35:51.688" v="29"/>
        <pc:sldMkLst>
          <pc:docMk/>
          <pc:sldMk cId="1418667493" sldId="2147376460"/>
        </pc:sldMkLst>
        <pc:spChg chg="add del">
          <ac:chgData name="Amitha Kamath" userId="c3525f0c-0cc9-4f43-aa0c-c729584a25e9" providerId="ADAL" clId="{FDE35BD5-F021-47F5-87D1-371A0D523D80}" dt="2022-10-20T01:35:51.688" v="29"/>
          <ac:spMkLst>
            <pc:docMk/>
            <pc:sldMk cId="1418667493" sldId="2147376460"/>
            <ac:spMk id="2" creationId="{3143C4CB-1155-4837-9D65-B6DC0A5A67A2}"/>
          </ac:spMkLst>
        </pc:spChg>
      </pc:sldChg>
      <pc:sldChg chg="modSp add mod">
        <pc:chgData name="Amitha Kamath" userId="c3525f0c-0cc9-4f43-aa0c-c729584a25e9" providerId="ADAL" clId="{FDE35BD5-F021-47F5-87D1-371A0D523D80}" dt="2022-10-20T01:37:56.977" v="53" actId="20577"/>
        <pc:sldMkLst>
          <pc:docMk/>
          <pc:sldMk cId="2666079488" sldId="2147377031"/>
        </pc:sldMkLst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7" creationId="{B26129CA-9004-466E-B288-9B39CC8F446B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9" creationId="{7EA4B837-1638-40E8-BEA5-5A83C1638C0B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13" creationId="{56AB2EDE-C2F0-4590-B935-CD15E55E5FAD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16" creationId="{7C8FBF53-3574-4279-860F-B0DB265CAFCF}"/>
          </ac:spMkLst>
        </pc:spChg>
        <pc:spChg chg="mod">
          <ac:chgData name="Amitha Kamath" userId="c3525f0c-0cc9-4f43-aa0c-c729584a25e9" providerId="ADAL" clId="{FDE35BD5-F021-47F5-87D1-371A0D523D80}" dt="2022-10-20T01:37:56.977" v="53" actId="20577"/>
          <ac:spMkLst>
            <pc:docMk/>
            <pc:sldMk cId="2666079488" sldId="2147377031"/>
            <ac:spMk id="17" creationId="{AD2ED3CA-D6C1-4A2D-A878-FCF94166EC9B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18" creationId="{86D60BD4-66A9-4E6E-8F83-B558CF063B1F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21" creationId="{730A83F8-0554-43FF-80D4-CC2E61DF680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22" creationId="{0C810D29-F142-43E6-BB0E-D616A9FB4CFC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24" creationId="{91232BB5-E36D-46CB-9118-6D2912C8F2AD}"/>
          </ac:spMkLst>
        </pc:spChg>
        <pc:spChg chg="mod">
          <ac:chgData name="Amitha Kamath" userId="c3525f0c-0cc9-4f43-aa0c-c729584a25e9" providerId="ADAL" clId="{FDE35BD5-F021-47F5-87D1-371A0D523D80}" dt="2022-10-20T01:37:01.581" v="52" actId="1076"/>
          <ac:spMkLst>
            <pc:docMk/>
            <pc:sldMk cId="2666079488" sldId="2147377031"/>
            <ac:spMk id="25" creationId="{8D7A0538-7C23-4519-98A4-79C94987FA9D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46" creationId="{5D6936EE-4351-496C-A590-004BF68B6099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49" creationId="{2D137414-07CA-47AA-ABEF-8364D147BB77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1" creationId="{AB767D29-E75A-4ED5-AC82-6FC65DB41CB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2" creationId="{C3AB7AD6-40EE-408A-B8EA-C2312A944CC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3" creationId="{37A705FF-28BE-4CC4-A6B8-44F6D4054C0D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5" creationId="{17A2DC66-4171-406D-BFB6-D59826750369}"/>
          </ac:spMkLst>
        </pc:spChg>
        <pc:spChg chg="mod">
          <ac:chgData name="Amitha Kamath" userId="c3525f0c-0cc9-4f43-aa0c-c729584a25e9" providerId="ADAL" clId="{FDE35BD5-F021-47F5-87D1-371A0D523D80}" dt="2022-10-20T01:36:58.030" v="51" actId="1076"/>
          <ac:spMkLst>
            <pc:docMk/>
            <pc:sldMk cId="2666079488" sldId="2147377031"/>
            <ac:spMk id="57" creationId="{D1F37FB4-357C-4D4B-9114-BBEA44DF31E2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8" creationId="{7F22FE8E-EE26-48C3-B189-2703D225C629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1" creationId="{AF9268B1-30CB-4524-92C0-26770E60B875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2" creationId="{95CA366A-BFE0-498B-B0EC-FF91F8F867E9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3" creationId="{E2C4462D-CFB3-45D0-8CB0-C0F34C5FF8F7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4" creationId="{0BEFAF4A-D62D-4C79-9D2D-5955BE7F36C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5" creationId="{20399A54-EC54-41D3-B2C7-0385FBCE124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6" creationId="{FDE62D95-61C8-4999-A303-623A68E77DBE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7" creationId="{C900288A-1E22-4E79-B285-8EA4297B5F48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75" creationId="{7E54514F-32D0-4461-9D3F-5612A95B6643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77" creationId="{FC1554CC-46E3-4445-A308-5262FFEA00E5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86" creationId="{5DB6C586-43AE-42B4-8D7D-4A5FCD5F4A22}"/>
          </ac:spMkLst>
        </pc:spChg>
        <pc:grpChg chg="mod">
          <ac:chgData name="Amitha Kamath" userId="c3525f0c-0cc9-4f43-aa0c-c729584a25e9" providerId="ADAL" clId="{FDE35BD5-F021-47F5-87D1-371A0D523D80}" dt="2022-10-20T01:36:52.032" v="50" actId="1036"/>
          <ac:grpSpMkLst>
            <pc:docMk/>
            <pc:sldMk cId="2666079488" sldId="2147377031"/>
            <ac:grpSpMk id="2" creationId="{DDD6B219-6BC2-45CF-BC89-1A393BF9CC55}"/>
          </ac:grpSpMkLst>
        </pc:grpChg>
        <pc:grpChg chg="mod">
          <ac:chgData name="Amitha Kamath" userId="c3525f0c-0cc9-4f43-aa0c-c729584a25e9" providerId="ADAL" clId="{FDE35BD5-F021-47F5-87D1-371A0D523D80}" dt="2022-10-20T01:36:52.032" v="50" actId="1036"/>
          <ac:grpSpMkLst>
            <pc:docMk/>
            <pc:sldMk cId="2666079488" sldId="2147377031"/>
            <ac:grpSpMk id="6" creationId="{CFDB2B4B-0884-402C-AD3F-A97DE4CCD0C1}"/>
          </ac:grpSpMkLst>
        </pc:grp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5" creationId="{9A7E2B91-4D59-450C-A0EC-5DCE1050CF0F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20" creationId="{A92D5FCC-4E68-4354-9422-3BB8A099FA93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59" creationId="{ACD87257-3AC9-4D55-AFD0-4C140D4680EA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60" creationId="{DFAAB51C-9D92-4079-9563-9DBD14BF27EB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89" creationId="{52027207-9CA2-4467-A3AC-17D7A4A83861}"/>
          </ac:picMkLst>
        </pc:picChg>
        <pc:cxnChg chg="mod">
          <ac:chgData name="Amitha Kamath" userId="c3525f0c-0cc9-4f43-aa0c-c729584a25e9" providerId="ADAL" clId="{FDE35BD5-F021-47F5-87D1-371A0D523D80}" dt="2022-10-20T01:36:52.032" v="50" actId="1036"/>
          <ac:cxnSpMkLst>
            <pc:docMk/>
            <pc:sldMk cId="2666079488" sldId="2147377031"/>
            <ac:cxnSpMk id="15" creationId="{D115D3EB-0A68-40B8-B7DB-E2BF5513DE00}"/>
          </ac:cxnSpMkLst>
        </pc:cxnChg>
        <pc:cxnChg chg="mod">
          <ac:chgData name="Amitha Kamath" userId="c3525f0c-0cc9-4f43-aa0c-c729584a25e9" providerId="ADAL" clId="{FDE35BD5-F021-47F5-87D1-371A0D523D80}" dt="2022-10-20T01:36:52.032" v="50" actId="1036"/>
          <ac:cxnSpMkLst>
            <pc:docMk/>
            <pc:sldMk cId="2666079488" sldId="2147377031"/>
            <ac:cxnSpMk id="78" creationId="{68CAD7E1-6B6E-404A-A3B0-1E5F19F0AD2E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/>
              <a:pPr algn="ctr"/>
              <a:t>‹#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/>
            </a:lvl1pPr>
          </a:lstStyle>
          <a:p>
            <a:fld id="{7D8C2C35-2B8A-446E-BEC0-FD36716C29A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0651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in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development roles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with free SAP Learning Journeys and live learning sessions led by SAP experts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8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194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972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47688" y="612775"/>
            <a:ext cx="5762625" cy="324167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621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43009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772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130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9334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9626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>
              <a:solidFill>
                <a:schemeClr val="tx1"/>
              </a:solidFill>
              <a:effectLst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2386AE-3956-9047-B470-60CAACD29976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6063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780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6671169" name="SAP Logo Placeholder" descr="{&quot;templafy&quot;:{&quot;id&quot;:&quot;402c8ce8-a81b-4048-8a0c-cee33fc679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5175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6629b764-d54b-4b26-b57c-ab43c5653963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25211465" name="Acquired Company Logo Placeholder" descr="{&quot;templafy&quot;:{&quot;id&quot;:&quot;39d55afe-04d6-4233-bda9-8cfb0d3f696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90141"/>
            <a:ext cx="4125924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717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 userDrawn="1">
          <p15:clr>
            <a:srgbClr val="FBAE40"/>
          </p15:clr>
        </p15:guide>
        <p15:guide id="2" orient="horz" pos="4144" userDrawn="1">
          <p15:clr>
            <a:srgbClr val="FBAE40"/>
          </p15:clr>
        </p15:guide>
        <p15:guide id="3" orient="horz" pos="2162" userDrawn="1">
          <p15:clr>
            <a:srgbClr val="FBAE40"/>
          </p15:clr>
        </p15:guide>
        <p15:guide id="4" pos="181" userDrawn="1">
          <p15:clr>
            <a:srgbClr val="FBAE40"/>
          </p15:clr>
        </p15:guide>
        <p15:guide id="5" orient="horz" pos="2534" userDrawn="1">
          <p15:clr>
            <a:srgbClr val="FBAE40"/>
          </p15:clr>
        </p15:guide>
        <p15:guide id="6" orient="horz" pos="3164" userDrawn="1">
          <p15:clr>
            <a:srgbClr val="FBAE40"/>
          </p15:clr>
        </p15:guide>
        <p15:guide id="7" orient="horz" pos="3232" userDrawn="1">
          <p15:clr>
            <a:srgbClr val="FBAE40"/>
          </p15:clr>
        </p15:guide>
        <p15:guide id="8" orient="horz" pos="35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399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2678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1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1" userDrawn="1">
          <p15:clr>
            <a:srgbClr val="FBAE40"/>
          </p15:clr>
        </p15:guide>
        <p15:guide id="5" orient="horz" pos="211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9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10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0198195" name="SAP Logo Placeholder" descr="{&quot;templafy&quot;:{&quot;id&quot;:&quot;03c2cf17-0e91-4b98-9cd7-780b9713135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28820327" name="Acquired Company Logo Placeholder" descr="{&quot;templafy&quot;:{&quot;id&quot;:&quot;7a4a5237-4ac1-4ba5-87f6-3a6f6ea346e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11" name="TextBox 10" descr="{&quot;templafy&quot;:{&quot;id&quot;:&quot;c9374d9c-bc2f-4ea9-9d1f-fe5a9d37ced1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201229968" name="SAP Logo Placeholder" descr="{&quot;templafy&quot;:{&quot;id&quot;:&quot;ae45ed68-1fba-481a-9e2e-8199ba46a6f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525610049" name="Acquired Company Logo Placeholder" descr="{&quot;templafy&quot;:{&quot;id&quot;:&quot;804b0718-9d30-40d9-b880-804c2c6a8f91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22453"/>
            <a:ext cx="4125924" cy="266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78109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24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18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308523" name="SAP Logo Placeholder" descr="{&quot;templafy&quot;:{&quot;id&quot;:&quot;c48f26f3-9de5-454c-b9e3-1027bb2975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9" name="Partner Logo Placeholder">
            <a:extLst>
              <a:ext uri="{FF2B5EF4-FFF2-40B4-BE49-F238E27FC236}">
                <a16:creationId xmlns:a16="http://schemas.microsoft.com/office/drawing/2014/main" id="{19E8849E-429B-6042-8141-D50CA3A38A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1628000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pic>
        <p:nvPicPr>
          <p:cNvPr id="580547484" name="Acquired Company Logo Placeholder" descr="{&quot;templafy&quot;:{&quot;id&quot;:&quot;efb4975c-edd3-4d8e-9801-9d8ad09e48ba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64352"/>
            <a:ext cx="4125924" cy="266010"/>
          </a:xfrm>
          <a:prstGeom prst="rect">
            <a:avLst/>
          </a:prstGeom>
        </p:spPr>
      </p:pic>
      <p:sp>
        <p:nvSpPr>
          <p:cNvPr id="5" name="Title Image Placeholder" descr="Placeholder title image" title="Title image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12193200" cy="3430006"/>
          </a:xfrm>
          <a:noFill/>
        </p:spPr>
        <p:txBody>
          <a:bodyPr tIns="50400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title image or illustration</a:t>
            </a:r>
          </a:p>
        </p:txBody>
      </p:sp>
      <p:sp>
        <p:nvSpPr>
          <p:cNvPr id="12" name="TextBox 11" descr="{&quot;templafy&quot;:{&quot;id&quot;:&quot;839dfe1a-fefb-4712-b006-6ab74fa63a04&quot;}}">
            <a:extLst>
              <a:ext uri="{FF2B5EF4-FFF2-40B4-BE49-F238E27FC236}">
                <a16:creationId xmlns:a16="http://schemas.microsoft.com/office/drawing/2014/main" id="{EEC6D590-31F2-438D-89DB-EC6D9F68073A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29e91d1-99e8-4600-9712-f74a034a28fa&quot;}}">
            <a:extLst>
              <a:ext uri="{FF2B5EF4-FFF2-40B4-BE49-F238E27FC236}">
                <a16:creationId xmlns:a16="http://schemas.microsoft.com/office/drawing/2014/main" id="{72E461ED-FE6B-472A-84CF-CA7D67D5FF90}"/>
              </a:ext>
            </a:extLst>
          </p:cNvPr>
          <p:cNvSpPr txBox="1"/>
          <p:nvPr userDrawn="1"/>
        </p:nvSpPr>
        <p:spPr>
          <a:xfrm>
            <a:off x="280987" y="533918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a49bfef0-b13b-4167-91a7-798b49fd6e80&quot;}}">
            <a:extLst>
              <a:ext uri="{FF2B5EF4-FFF2-40B4-BE49-F238E27FC236}">
                <a16:creationId xmlns:a16="http://schemas.microsoft.com/office/drawing/2014/main" id="{3471D1DE-3939-4170-8CCD-AA9743B81749}"/>
              </a:ext>
            </a:extLst>
          </p:cNvPr>
          <p:cNvSpPr txBox="1"/>
          <p:nvPr userDrawn="1"/>
        </p:nvSpPr>
        <p:spPr>
          <a:xfrm>
            <a:off x="288000" y="513583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206451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3182243" name="SAP Logo Placeholder" descr="{&quot;templafy&quot;:{&quot;id&quot;:&quot;8fa580e0-60de-4859-826c-3f778bb1c63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3" name="Partner Logo Placeholder">
            <a:extLst>
              <a:ext uri="{FF2B5EF4-FFF2-40B4-BE49-F238E27FC236}">
                <a16:creationId xmlns:a16="http://schemas.microsoft.com/office/drawing/2014/main" id="{B8569445-4B1E-1949-9952-1DDE9A7284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12" name="Classification" descr="{&quot;templafy&quot;:{&quot;id&quot;:&quot;8177ae73-b222-4795-94bc-12148a67715b&quot;}}">
            <a:extLst>
              <a:ext uri="{FF2B5EF4-FFF2-40B4-BE49-F238E27FC236}">
                <a16:creationId xmlns:a16="http://schemas.microsoft.com/office/drawing/2014/main" id="{9AED1B7B-FC45-4242-8DBB-E0D16A9A9CDB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1628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05942392" name="Acquired Company Logo Placeholder" descr="{&quot;templafy&quot;:{&quot;id&quot;:&quot;3360383a-7530-4253-982f-54c9c739b23d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045822"/>
            <a:ext cx="4125924" cy="266010"/>
          </a:xfrm>
          <a:prstGeom prst="rect">
            <a:avLst/>
          </a:prstGeom>
        </p:spPr>
      </p:pic>
      <p:sp>
        <p:nvSpPr>
          <p:cNvPr id="8" name="TextBox 7" descr="{&quot;templafy&quot;:{&quot;id&quot;:&quot;b0a39dc1-5cf9-4ab8-82f5-437452eed83b&quot;}}">
            <a:extLst>
              <a:ext uri="{FF2B5EF4-FFF2-40B4-BE49-F238E27FC236}">
                <a16:creationId xmlns:a16="http://schemas.microsoft.com/office/drawing/2014/main" id="{64C1028F-1E91-4F0C-94BA-BF68E9AED35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0" name="TextBox 9" descr="{&quot;templafy&quot;:{&quot;id&quot;:&quot;574ae19f-685f-4760-bc9a-612c1d5117bf&quot;}}">
            <a:extLst>
              <a:ext uri="{FF2B5EF4-FFF2-40B4-BE49-F238E27FC236}">
                <a16:creationId xmlns:a16="http://schemas.microsoft.com/office/drawing/2014/main" id="{8D0BBFAA-C778-47CC-B6FF-20BAB456E2C9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 descr="{&quot;templafy&quot;:{&quot;id&quot;:&quot;26c22a0a-39cb-4e29-b885-386f933c6934&quot;}}">
            <a:extLst>
              <a:ext uri="{FF2B5EF4-FFF2-40B4-BE49-F238E27FC236}">
                <a16:creationId xmlns:a16="http://schemas.microsoft.com/office/drawing/2014/main" id="{65BC2793-745A-43E4-8CF5-24D8BF40D064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403639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6" pos="7506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378006" name="SAP Logo Placeholder" descr="{&quot;templafy&quot;:{&quot;id&quot;:&quot;d575aaf5-e081-48ee-afd8-a7f18869d74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4CB2664F-AB46-2A47-9F24-F571073960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Classification" descr="{&quot;templafy&quot;:{&quot;id&quot;:&quot;cff6036f-bd4e-482f-9d33-c867e44eb4db&quot;}}">
            <a:extLst>
              <a:ext uri="{FF2B5EF4-FFF2-40B4-BE49-F238E27FC236}">
                <a16:creationId xmlns:a16="http://schemas.microsoft.com/office/drawing/2014/main" id="{579B2F34-6F4A-4590-92E9-60572485B8E0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9036960" name="Acquired Company Placeholder" descr="{&quot;templafy&quot;:{&quot;id&quot;:&quot;d0975669-fd1a-479f-a155-686ec3b49497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320" y="2015327"/>
            <a:ext cx="4125924" cy="266010"/>
          </a:xfrm>
          <a:prstGeom prst="rect">
            <a:avLst/>
          </a:prstGeom>
        </p:spPr>
      </p:pic>
      <p:sp>
        <p:nvSpPr>
          <p:cNvPr id="13" name="TextBox 12" descr="{&quot;templafy&quot;:{&quot;id&quot;:&quot;de83b89e-06f8-4a66-bc78-e0ce11a647df&quot;}}">
            <a:extLst>
              <a:ext uri="{FF2B5EF4-FFF2-40B4-BE49-F238E27FC236}">
                <a16:creationId xmlns:a16="http://schemas.microsoft.com/office/drawing/2014/main" id="{E5062E1B-D4F0-4EAA-8E47-95C23306D85C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50ae7db-3190-4f26-9cf0-70c9bae50bf6&quot;}}">
            <a:extLst>
              <a:ext uri="{FF2B5EF4-FFF2-40B4-BE49-F238E27FC236}">
                <a16:creationId xmlns:a16="http://schemas.microsoft.com/office/drawing/2014/main" id="{104400F3-30DA-42BD-9477-E89126EB131B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02f54ec1-6a21-459e-adb1-999fde8be390&quot;}}">
            <a:extLst>
              <a:ext uri="{FF2B5EF4-FFF2-40B4-BE49-F238E27FC236}">
                <a16:creationId xmlns:a16="http://schemas.microsoft.com/office/drawing/2014/main" id="{1DA16BA6-203F-4A94-9917-BFF1986FD4F6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58391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693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3320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665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9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2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291420" name="SAP Logo Placeholer" descr="{&quot;templafy&quot;:{&quot;id&quot;:&quot;87f23f44-5671-4d59-aa70-a56fa79f0d3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071088161" name="Acquired Company Logo Placeholder" descr="{&quot;templafy&quot;:{&quot;id&quot;:&quot;a6690f6d-12a0-4492-989f-ee7248cf29b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1" y="2139633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aa182e57-eaf6-4b28-ad8b-c8b5f60f74e9&quot;}}">
            <a:extLst>
              <a:ext uri="{FF2B5EF4-FFF2-40B4-BE49-F238E27FC236}">
                <a16:creationId xmlns:a16="http://schemas.microsoft.com/office/drawing/2014/main" id="{98E5DEB1-9722-40B6-89CC-20C572BA33F7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48046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pos="4196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335" userDrawn="1">
          <p15:clr>
            <a:srgbClr val="FBAE40"/>
          </p15:clr>
        </p15:guide>
        <p15:guide id="6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096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43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3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56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19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015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184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68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full 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5218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970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4289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0017575" name="SAP Logo Placeholder" descr="{&quot;templafy&quot;:{&quot;id&quot;:&quot;43bd4141-03ec-42e8-932a-bf9d012495f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1170070854" name="Acquired Company Placeholder" descr="{&quot;templafy&quot;:{&quot;id&quot;:&quot;5f013b52-6a7f-41f0-aa25-c97897731de0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09180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2e815dc4-b8aa-4b52-950e-8b2f00e4124f&quot;}}">
            <a:extLst>
              <a:ext uri="{FF2B5EF4-FFF2-40B4-BE49-F238E27FC236}">
                <a16:creationId xmlns:a16="http://schemas.microsoft.com/office/drawing/2014/main" id="{4AC0C605-F314-47FE-86E7-15011350854E}"/>
              </a:ext>
            </a:extLst>
          </p:cNvPr>
          <p:cNvSpPr txBox="1"/>
          <p:nvPr userDrawn="1"/>
        </p:nvSpPr>
        <p:spPr>
          <a:xfrm>
            <a:off x="503238" y="331742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</a:t>
            </a:r>
          </a:p>
        </p:txBody>
      </p:sp>
      <p:sp>
        <p:nvSpPr>
          <p:cNvPr id="10" name="TextBox 9" descr="{&quot;templafy&quot;:{&quot;id&quot;:&quot;9cfdf92a-b699-438c-903f-0473215e6f41&quot;}}">
            <a:extLst>
              <a:ext uri="{FF2B5EF4-FFF2-40B4-BE49-F238E27FC236}">
                <a16:creationId xmlns:a16="http://schemas.microsoft.com/office/drawing/2014/main" id="{8E5171B9-2B3B-4785-9AC4-6411974D5276}"/>
              </a:ext>
            </a:extLst>
          </p:cNvPr>
          <p:cNvSpPr txBox="1"/>
          <p:nvPr userDrawn="1"/>
        </p:nvSpPr>
        <p:spPr>
          <a:xfrm>
            <a:off x="503238" y="354057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i.bitz@sap.co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1ECE2-ED38-FE42-BEBA-1433C352D307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5C152E-1B2C-2848-9A5B-C013FDF4DF2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sp>
        <p:nvSpPr>
          <p:cNvPr id="11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0FCCAAF4-A87C-AC49-8F35-138E790C44C3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41828754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7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156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0549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17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10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1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21.xml"/><Relationship Id="rId63" Type="http://schemas.openxmlformats.org/officeDocument/2006/relationships/tags" Target="../tags/tag42.xml"/><Relationship Id="rId84" Type="http://schemas.openxmlformats.org/officeDocument/2006/relationships/tags" Target="../tags/tag63.xml"/><Relationship Id="rId138" Type="http://schemas.openxmlformats.org/officeDocument/2006/relationships/tags" Target="../tags/tag117.xml"/><Relationship Id="rId107" Type="http://schemas.openxmlformats.org/officeDocument/2006/relationships/tags" Target="../tags/tag8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1.xml"/><Relationship Id="rId53" Type="http://schemas.openxmlformats.org/officeDocument/2006/relationships/tags" Target="../tags/tag32.xml"/><Relationship Id="rId74" Type="http://schemas.openxmlformats.org/officeDocument/2006/relationships/tags" Target="../tags/tag53.xml"/><Relationship Id="rId128" Type="http://schemas.openxmlformats.org/officeDocument/2006/relationships/tags" Target="../tags/tag107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69.xml"/><Relationship Id="rId95" Type="http://schemas.openxmlformats.org/officeDocument/2006/relationships/tags" Target="../tags/tag74.xml"/><Relationship Id="rId22" Type="http://schemas.openxmlformats.org/officeDocument/2006/relationships/theme" Target="../theme/theme1.xml"/><Relationship Id="rId27" Type="http://schemas.openxmlformats.org/officeDocument/2006/relationships/tags" Target="../tags/tag6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64" Type="http://schemas.openxmlformats.org/officeDocument/2006/relationships/tags" Target="../tags/tag43.xml"/><Relationship Id="rId69" Type="http://schemas.openxmlformats.org/officeDocument/2006/relationships/tags" Target="../tags/tag48.xml"/><Relationship Id="rId113" Type="http://schemas.openxmlformats.org/officeDocument/2006/relationships/tags" Target="../tags/tag92.xml"/><Relationship Id="rId118" Type="http://schemas.openxmlformats.org/officeDocument/2006/relationships/tags" Target="../tags/tag97.xml"/><Relationship Id="rId134" Type="http://schemas.openxmlformats.org/officeDocument/2006/relationships/tags" Target="../tags/tag113.xml"/><Relationship Id="rId139" Type="http://schemas.openxmlformats.org/officeDocument/2006/relationships/tags" Target="../tags/tag118.xml"/><Relationship Id="rId80" Type="http://schemas.openxmlformats.org/officeDocument/2006/relationships/tags" Target="../tags/tag59.xml"/><Relationship Id="rId85" Type="http://schemas.openxmlformats.org/officeDocument/2006/relationships/tags" Target="../tags/tag6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59" Type="http://schemas.openxmlformats.org/officeDocument/2006/relationships/tags" Target="../tags/tag38.xml"/><Relationship Id="rId103" Type="http://schemas.openxmlformats.org/officeDocument/2006/relationships/tags" Target="../tags/tag82.xml"/><Relationship Id="rId108" Type="http://schemas.openxmlformats.org/officeDocument/2006/relationships/tags" Target="../tags/tag87.xml"/><Relationship Id="rId124" Type="http://schemas.openxmlformats.org/officeDocument/2006/relationships/tags" Target="../tags/tag103.xml"/><Relationship Id="rId129" Type="http://schemas.openxmlformats.org/officeDocument/2006/relationships/tags" Target="../tags/tag108.xml"/><Relationship Id="rId54" Type="http://schemas.openxmlformats.org/officeDocument/2006/relationships/tags" Target="../tags/tag33.xml"/><Relationship Id="rId70" Type="http://schemas.openxmlformats.org/officeDocument/2006/relationships/tags" Target="../tags/tag49.xml"/><Relationship Id="rId75" Type="http://schemas.openxmlformats.org/officeDocument/2006/relationships/tags" Target="../tags/tag54.xml"/><Relationship Id="rId91" Type="http://schemas.openxmlformats.org/officeDocument/2006/relationships/tags" Target="../tags/tag70.xml"/><Relationship Id="rId96" Type="http://schemas.openxmlformats.org/officeDocument/2006/relationships/tags" Target="../tags/tag75.xml"/><Relationship Id="rId140" Type="http://schemas.openxmlformats.org/officeDocument/2006/relationships/tags" Target="../tags/tag119.xml"/><Relationship Id="rId145" Type="http://schemas.openxmlformats.org/officeDocument/2006/relationships/tags" Target="../tags/tag12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49" Type="http://schemas.openxmlformats.org/officeDocument/2006/relationships/tags" Target="../tags/tag28.xml"/><Relationship Id="rId114" Type="http://schemas.openxmlformats.org/officeDocument/2006/relationships/tags" Target="../tags/tag93.xml"/><Relationship Id="rId119" Type="http://schemas.openxmlformats.org/officeDocument/2006/relationships/tags" Target="../tags/tag98.xml"/><Relationship Id="rId44" Type="http://schemas.openxmlformats.org/officeDocument/2006/relationships/tags" Target="../tags/tag23.xml"/><Relationship Id="rId60" Type="http://schemas.openxmlformats.org/officeDocument/2006/relationships/tags" Target="../tags/tag39.xml"/><Relationship Id="rId65" Type="http://schemas.openxmlformats.org/officeDocument/2006/relationships/tags" Target="../tags/tag44.xml"/><Relationship Id="rId81" Type="http://schemas.openxmlformats.org/officeDocument/2006/relationships/tags" Target="../tags/tag60.xml"/><Relationship Id="rId86" Type="http://schemas.openxmlformats.org/officeDocument/2006/relationships/tags" Target="../tags/tag65.xml"/><Relationship Id="rId130" Type="http://schemas.openxmlformats.org/officeDocument/2006/relationships/tags" Target="../tags/tag109.xml"/><Relationship Id="rId135" Type="http://schemas.openxmlformats.org/officeDocument/2006/relationships/tags" Target="../tags/tag114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8.xml"/><Relationship Id="rId109" Type="http://schemas.openxmlformats.org/officeDocument/2006/relationships/tags" Target="../tags/tag88.xml"/><Relationship Id="rId34" Type="http://schemas.openxmlformats.org/officeDocument/2006/relationships/tags" Target="../tags/tag13.xml"/><Relationship Id="rId50" Type="http://schemas.openxmlformats.org/officeDocument/2006/relationships/tags" Target="../tags/tag29.xml"/><Relationship Id="rId55" Type="http://schemas.openxmlformats.org/officeDocument/2006/relationships/tags" Target="../tags/tag34.xml"/><Relationship Id="rId76" Type="http://schemas.openxmlformats.org/officeDocument/2006/relationships/tags" Target="../tags/tag55.xml"/><Relationship Id="rId97" Type="http://schemas.openxmlformats.org/officeDocument/2006/relationships/tags" Target="../tags/tag76.xml"/><Relationship Id="rId104" Type="http://schemas.openxmlformats.org/officeDocument/2006/relationships/tags" Target="../tags/tag83.xml"/><Relationship Id="rId120" Type="http://schemas.openxmlformats.org/officeDocument/2006/relationships/tags" Target="../tags/tag99.xml"/><Relationship Id="rId125" Type="http://schemas.openxmlformats.org/officeDocument/2006/relationships/tags" Target="../tags/tag104.xml"/><Relationship Id="rId141" Type="http://schemas.openxmlformats.org/officeDocument/2006/relationships/tags" Target="../tags/tag120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0.xml"/><Relationship Id="rId92" Type="http://schemas.openxmlformats.org/officeDocument/2006/relationships/tags" Target="../tags/tag71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8.xml"/><Relationship Id="rId24" Type="http://schemas.openxmlformats.org/officeDocument/2006/relationships/tags" Target="../tags/tag3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66" Type="http://schemas.openxmlformats.org/officeDocument/2006/relationships/tags" Target="../tags/tag45.xml"/><Relationship Id="rId87" Type="http://schemas.openxmlformats.org/officeDocument/2006/relationships/tags" Target="../tags/tag66.xml"/><Relationship Id="rId110" Type="http://schemas.openxmlformats.org/officeDocument/2006/relationships/tags" Target="../tags/tag89.xml"/><Relationship Id="rId115" Type="http://schemas.openxmlformats.org/officeDocument/2006/relationships/tags" Target="../tags/tag94.xml"/><Relationship Id="rId131" Type="http://schemas.openxmlformats.org/officeDocument/2006/relationships/tags" Target="../tags/tag110.xml"/><Relationship Id="rId136" Type="http://schemas.openxmlformats.org/officeDocument/2006/relationships/tags" Target="../tags/tag115.xml"/><Relationship Id="rId61" Type="http://schemas.openxmlformats.org/officeDocument/2006/relationships/tags" Target="../tags/tag40.xml"/><Relationship Id="rId82" Type="http://schemas.openxmlformats.org/officeDocument/2006/relationships/tags" Target="../tags/tag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56" Type="http://schemas.openxmlformats.org/officeDocument/2006/relationships/tags" Target="../tags/tag35.xml"/><Relationship Id="rId77" Type="http://schemas.openxmlformats.org/officeDocument/2006/relationships/tags" Target="../tags/tag56.xml"/><Relationship Id="rId100" Type="http://schemas.openxmlformats.org/officeDocument/2006/relationships/tags" Target="../tags/tag79.xml"/><Relationship Id="rId105" Type="http://schemas.openxmlformats.org/officeDocument/2006/relationships/tags" Target="../tags/tag84.xml"/><Relationship Id="rId126" Type="http://schemas.openxmlformats.org/officeDocument/2006/relationships/tags" Target="../tags/tag10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0.xml"/><Relationship Id="rId72" Type="http://schemas.openxmlformats.org/officeDocument/2006/relationships/tags" Target="../tags/tag51.xml"/><Relationship Id="rId93" Type="http://schemas.openxmlformats.org/officeDocument/2006/relationships/tags" Target="../tags/tag72.xml"/><Relationship Id="rId98" Type="http://schemas.openxmlformats.org/officeDocument/2006/relationships/tags" Target="../tags/tag77.xml"/><Relationship Id="rId121" Type="http://schemas.openxmlformats.org/officeDocument/2006/relationships/tags" Target="../tags/tag100.xml"/><Relationship Id="rId142" Type="http://schemas.openxmlformats.org/officeDocument/2006/relationships/tags" Target="../tags/tag121.xml"/><Relationship Id="rId3" Type="http://schemas.openxmlformats.org/officeDocument/2006/relationships/slideLayout" Target="../slideLayouts/slideLayout3.xml"/><Relationship Id="rId25" Type="http://schemas.openxmlformats.org/officeDocument/2006/relationships/tags" Target="../tags/tag4.xml"/><Relationship Id="rId46" Type="http://schemas.openxmlformats.org/officeDocument/2006/relationships/tags" Target="../tags/tag25.xml"/><Relationship Id="rId67" Type="http://schemas.openxmlformats.org/officeDocument/2006/relationships/tags" Target="../tags/tag46.xml"/><Relationship Id="rId116" Type="http://schemas.openxmlformats.org/officeDocument/2006/relationships/tags" Target="../tags/tag95.xml"/><Relationship Id="rId137" Type="http://schemas.openxmlformats.org/officeDocument/2006/relationships/tags" Target="../tags/tag116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0.xml"/><Relationship Id="rId62" Type="http://schemas.openxmlformats.org/officeDocument/2006/relationships/tags" Target="../tags/tag41.xml"/><Relationship Id="rId83" Type="http://schemas.openxmlformats.org/officeDocument/2006/relationships/tags" Target="../tags/tag62.xml"/><Relationship Id="rId88" Type="http://schemas.openxmlformats.org/officeDocument/2006/relationships/tags" Target="../tags/tag67.xml"/><Relationship Id="rId111" Type="http://schemas.openxmlformats.org/officeDocument/2006/relationships/tags" Target="../tags/tag90.xml"/><Relationship Id="rId132" Type="http://schemas.openxmlformats.org/officeDocument/2006/relationships/tags" Target="../tags/tag111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15.xml"/><Relationship Id="rId57" Type="http://schemas.openxmlformats.org/officeDocument/2006/relationships/tags" Target="../tags/tag36.xml"/><Relationship Id="rId106" Type="http://schemas.openxmlformats.org/officeDocument/2006/relationships/tags" Target="../tags/tag85.xml"/><Relationship Id="rId127" Type="http://schemas.openxmlformats.org/officeDocument/2006/relationships/tags" Target="../tags/tag106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0.xml"/><Relationship Id="rId52" Type="http://schemas.openxmlformats.org/officeDocument/2006/relationships/tags" Target="../tags/tag31.xml"/><Relationship Id="rId73" Type="http://schemas.openxmlformats.org/officeDocument/2006/relationships/tags" Target="../tags/tag52.xml"/><Relationship Id="rId78" Type="http://schemas.openxmlformats.org/officeDocument/2006/relationships/tags" Target="../tags/tag57.xml"/><Relationship Id="rId94" Type="http://schemas.openxmlformats.org/officeDocument/2006/relationships/tags" Target="../tags/tag73.xml"/><Relationship Id="rId99" Type="http://schemas.openxmlformats.org/officeDocument/2006/relationships/tags" Target="../tags/tag78.xml"/><Relationship Id="rId101" Type="http://schemas.openxmlformats.org/officeDocument/2006/relationships/tags" Target="../tags/tag80.xml"/><Relationship Id="rId122" Type="http://schemas.openxmlformats.org/officeDocument/2006/relationships/tags" Target="../tags/tag101.xml"/><Relationship Id="rId143" Type="http://schemas.openxmlformats.org/officeDocument/2006/relationships/tags" Target="../tags/tag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tags" Target="../tags/tag5.xml"/><Relationship Id="rId47" Type="http://schemas.openxmlformats.org/officeDocument/2006/relationships/tags" Target="../tags/tag26.xml"/><Relationship Id="rId68" Type="http://schemas.openxmlformats.org/officeDocument/2006/relationships/tags" Target="../tags/tag47.xml"/><Relationship Id="rId89" Type="http://schemas.openxmlformats.org/officeDocument/2006/relationships/tags" Target="../tags/tag68.xml"/><Relationship Id="rId112" Type="http://schemas.openxmlformats.org/officeDocument/2006/relationships/tags" Target="../tags/tag91.xml"/><Relationship Id="rId133" Type="http://schemas.openxmlformats.org/officeDocument/2006/relationships/tags" Target="../tags/tag112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16.xml"/><Relationship Id="rId58" Type="http://schemas.openxmlformats.org/officeDocument/2006/relationships/tags" Target="../tags/tag37.xml"/><Relationship Id="rId79" Type="http://schemas.openxmlformats.org/officeDocument/2006/relationships/tags" Target="../tags/tag58.xml"/><Relationship Id="rId102" Type="http://schemas.openxmlformats.org/officeDocument/2006/relationships/tags" Target="../tags/tag81.xml"/><Relationship Id="rId123" Type="http://schemas.openxmlformats.org/officeDocument/2006/relationships/tags" Target="../tags/tag102.xml"/><Relationship Id="rId144" Type="http://schemas.openxmlformats.org/officeDocument/2006/relationships/tags" Target="../tags/tag123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220.xml"/><Relationship Id="rId21" Type="http://schemas.openxmlformats.org/officeDocument/2006/relationships/theme" Target="../theme/theme2.xml"/><Relationship Id="rId42" Type="http://schemas.openxmlformats.org/officeDocument/2006/relationships/tags" Target="../tags/tag145.xml"/><Relationship Id="rId63" Type="http://schemas.openxmlformats.org/officeDocument/2006/relationships/tags" Target="../tags/tag166.xml"/><Relationship Id="rId84" Type="http://schemas.openxmlformats.org/officeDocument/2006/relationships/tags" Target="../tags/tag187.xml"/><Relationship Id="rId138" Type="http://schemas.openxmlformats.org/officeDocument/2006/relationships/tags" Target="../tags/tag241.xml"/><Relationship Id="rId107" Type="http://schemas.openxmlformats.org/officeDocument/2006/relationships/tags" Target="../tags/tag210.xml"/><Relationship Id="rId11" Type="http://schemas.openxmlformats.org/officeDocument/2006/relationships/slideLayout" Target="../slideLayouts/slideLayout32.xml"/><Relationship Id="rId32" Type="http://schemas.openxmlformats.org/officeDocument/2006/relationships/tags" Target="../tags/tag135.xml"/><Relationship Id="rId37" Type="http://schemas.openxmlformats.org/officeDocument/2006/relationships/tags" Target="../tags/tag140.xml"/><Relationship Id="rId53" Type="http://schemas.openxmlformats.org/officeDocument/2006/relationships/tags" Target="../tags/tag156.xml"/><Relationship Id="rId58" Type="http://schemas.openxmlformats.org/officeDocument/2006/relationships/tags" Target="../tags/tag161.xml"/><Relationship Id="rId74" Type="http://schemas.openxmlformats.org/officeDocument/2006/relationships/tags" Target="../tags/tag177.xml"/><Relationship Id="rId79" Type="http://schemas.openxmlformats.org/officeDocument/2006/relationships/tags" Target="../tags/tag182.xml"/><Relationship Id="rId102" Type="http://schemas.openxmlformats.org/officeDocument/2006/relationships/tags" Target="../tags/tag205.xml"/><Relationship Id="rId123" Type="http://schemas.openxmlformats.org/officeDocument/2006/relationships/tags" Target="../tags/tag226.xml"/><Relationship Id="rId128" Type="http://schemas.openxmlformats.org/officeDocument/2006/relationships/tags" Target="../tags/tag231.xml"/><Relationship Id="rId144" Type="http://schemas.openxmlformats.org/officeDocument/2006/relationships/tags" Target="../tags/tag247.xml"/><Relationship Id="rId5" Type="http://schemas.openxmlformats.org/officeDocument/2006/relationships/slideLayout" Target="../slideLayouts/slideLayout26.xml"/><Relationship Id="rId90" Type="http://schemas.openxmlformats.org/officeDocument/2006/relationships/tags" Target="../tags/tag193.xml"/><Relationship Id="rId95" Type="http://schemas.openxmlformats.org/officeDocument/2006/relationships/tags" Target="../tags/tag198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43" Type="http://schemas.openxmlformats.org/officeDocument/2006/relationships/tags" Target="../tags/tag146.xml"/><Relationship Id="rId48" Type="http://schemas.openxmlformats.org/officeDocument/2006/relationships/tags" Target="../tags/tag151.xml"/><Relationship Id="rId64" Type="http://schemas.openxmlformats.org/officeDocument/2006/relationships/tags" Target="../tags/tag167.xml"/><Relationship Id="rId69" Type="http://schemas.openxmlformats.org/officeDocument/2006/relationships/tags" Target="../tags/tag172.xml"/><Relationship Id="rId113" Type="http://schemas.openxmlformats.org/officeDocument/2006/relationships/tags" Target="../tags/tag216.xml"/><Relationship Id="rId118" Type="http://schemas.openxmlformats.org/officeDocument/2006/relationships/tags" Target="../tags/tag221.xml"/><Relationship Id="rId134" Type="http://schemas.openxmlformats.org/officeDocument/2006/relationships/tags" Target="../tags/tag237.xml"/><Relationship Id="rId139" Type="http://schemas.openxmlformats.org/officeDocument/2006/relationships/tags" Target="../tags/tag242.xml"/><Relationship Id="rId80" Type="http://schemas.openxmlformats.org/officeDocument/2006/relationships/tags" Target="../tags/tag183.xml"/><Relationship Id="rId85" Type="http://schemas.openxmlformats.org/officeDocument/2006/relationships/tags" Target="../tags/tag18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33" Type="http://schemas.openxmlformats.org/officeDocument/2006/relationships/tags" Target="../tags/tag136.xml"/><Relationship Id="rId38" Type="http://schemas.openxmlformats.org/officeDocument/2006/relationships/tags" Target="../tags/tag141.xml"/><Relationship Id="rId59" Type="http://schemas.openxmlformats.org/officeDocument/2006/relationships/tags" Target="../tags/tag162.xml"/><Relationship Id="rId103" Type="http://schemas.openxmlformats.org/officeDocument/2006/relationships/tags" Target="../tags/tag206.xml"/><Relationship Id="rId108" Type="http://schemas.openxmlformats.org/officeDocument/2006/relationships/tags" Target="../tags/tag211.xml"/><Relationship Id="rId124" Type="http://schemas.openxmlformats.org/officeDocument/2006/relationships/tags" Target="../tags/tag227.xml"/><Relationship Id="rId129" Type="http://schemas.openxmlformats.org/officeDocument/2006/relationships/tags" Target="../tags/tag232.xml"/><Relationship Id="rId54" Type="http://schemas.openxmlformats.org/officeDocument/2006/relationships/tags" Target="../tags/tag157.xml"/><Relationship Id="rId70" Type="http://schemas.openxmlformats.org/officeDocument/2006/relationships/tags" Target="../tags/tag173.xml"/><Relationship Id="rId75" Type="http://schemas.openxmlformats.org/officeDocument/2006/relationships/tags" Target="../tags/tag178.xml"/><Relationship Id="rId91" Type="http://schemas.openxmlformats.org/officeDocument/2006/relationships/tags" Target="../tags/tag194.xml"/><Relationship Id="rId96" Type="http://schemas.openxmlformats.org/officeDocument/2006/relationships/tags" Target="../tags/tag199.xml"/><Relationship Id="rId140" Type="http://schemas.openxmlformats.org/officeDocument/2006/relationships/tags" Target="../tags/tag24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49" Type="http://schemas.openxmlformats.org/officeDocument/2006/relationships/tags" Target="../tags/tag152.xml"/><Relationship Id="rId114" Type="http://schemas.openxmlformats.org/officeDocument/2006/relationships/tags" Target="../tags/tag217.xml"/><Relationship Id="rId119" Type="http://schemas.openxmlformats.org/officeDocument/2006/relationships/tags" Target="../tags/tag222.xml"/><Relationship Id="rId44" Type="http://schemas.openxmlformats.org/officeDocument/2006/relationships/tags" Target="../tags/tag147.xml"/><Relationship Id="rId60" Type="http://schemas.openxmlformats.org/officeDocument/2006/relationships/tags" Target="../tags/tag163.xml"/><Relationship Id="rId65" Type="http://schemas.openxmlformats.org/officeDocument/2006/relationships/tags" Target="../tags/tag168.xml"/><Relationship Id="rId81" Type="http://schemas.openxmlformats.org/officeDocument/2006/relationships/tags" Target="../tags/tag184.xml"/><Relationship Id="rId86" Type="http://schemas.openxmlformats.org/officeDocument/2006/relationships/tags" Target="../tags/tag189.xml"/><Relationship Id="rId130" Type="http://schemas.openxmlformats.org/officeDocument/2006/relationships/tags" Target="../tags/tag233.xml"/><Relationship Id="rId135" Type="http://schemas.openxmlformats.org/officeDocument/2006/relationships/tags" Target="../tags/tag238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9" Type="http://schemas.openxmlformats.org/officeDocument/2006/relationships/tags" Target="../tags/tag142.xml"/><Relationship Id="rId109" Type="http://schemas.openxmlformats.org/officeDocument/2006/relationships/tags" Target="../tags/tag212.xml"/><Relationship Id="rId34" Type="http://schemas.openxmlformats.org/officeDocument/2006/relationships/tags" Target="../tags/tag137.xml"/><Relationship Id="rId50" Type="http://schemas.openxmlformats.org/officeDocument/2006/relationships/tags" Target="../tags/tag153.xml"/><Relationship Id="rId55" Type="http://schemas.openxmlformats.org/officeDocument/2006/relationships/tags" Target="../tags/tag158.xml"/><Relationship Id="rId76" Type="http://schemas.openxmlformats.org/officeDocument/2006/relationships/tags" Target="../tags/tag179.xml"/><Relationship Id="rId97" Type="http://schemas.openxmlformats.org/officeDocument/2006/relationships/tags" Target="../tags/tag200.xml"/><Relationship Id="rId104" Type="http://schemas.openxmlformats.org/officeDocument/2006/relationships/tags" Target="../tags/tag207.xml"/><Relationship Id="rId120" Type="http://schemas.openxmlformats.org/officeDocument/2006/relationships/tags" Target="../tags/tag223.xml"/><Relationship Id="rId125" Type="http://schemas.openxmlformats.org/officeDocument/2006/relationships/tags" Target="../tags/tag228.xml"/><Relationship Id="rId141" Type="http://schemas.openxmlformats.org/officeDocument/2006/relationships/tags" Target="../tags/tag244.xml"/><Relationship Id="rId7" Type="http://schemas.openxmlformats.org/officeDocument/2006/relationships/slideLayout" Target="../slideLayouts/slideLayout28.xml"/><Relationship Id="rId71" Type="http://schemas.openxmlformats.org/officeDocument/2006/relationships/tags" Target="../tags/tag174.xml"/><Relationship Id="rId92" Type="http://schemas.openxmlformats.org/officeDocument/2006/relationships/tags" Target="../tags/tag195.xml"/><Relationship Id="rId2" Type="http://schemas.openxmlformats.org/officeDocument/2006/relationships/slideLayout" Target="../slideLayouts/slideLayout23.xml"/><Relationship Id="rId29" Type="http://schemas.openxmlformats.org/officeDocument/2006/relationships/tags" Target="../tags/tag132.xml"/><Relationship Id="rId24" Type="http://schemas.openxmlformats.org/officeDocument/2006/relationships/tags" Target="../tags/tag127.xml"/><Relationship Id="rId40" Type="http://schemas.openxmlformats.org/officeDocument/2006/relationships/tags" Target="../tags/tag143.xml"/><Relationship Id="rId45" Type="http://schemas.openxmlformats.org/officeDocument/2006/relationships/tags" Target="../tags/tag148.xml"/><Relationship Id="rId66" Type="http://schemas.openxmlformats.org/officeDocument/2006/relationships/tags" Target="../tags/tag169.xml"/><Relationship Id="rId87" Type="http://schemas.openxmlformats.org/officeDocument/2006/relationships/tags" Target="../tags/tag190.xml"/><Relationship Id="rId110" Type="http://schemas.openxmlformats.org/officeDocument/2006/relationships/tags" Target="../tags/tag213.xml"/><Relationship Id="rId115" Type="http://schemas.openxmlformats.org/officeDocument/2006/relationships/tags" Target="../tags/tag218.xml"/><Relationship Id="rId131" Type="http://schemas.openxmlformats.org/officeDocument/2006/relationships/tags" Target="../tags/tag234.xml"/><Relationship Id="rId136" Type="http://schemas.openxmlformats.org/officeDocument/2006/relationships/tags" Target="../tags/tag239.xml"/><Relationship Id="rId61" Type="http://schemas.openxmlformats.org/officeDocument/2006/relationships/tags" Target="../tags/tag164.xml"/><Relationship Id="rId82" Type="http://schemas.openxmlformats.org/officeDocument/2006/relationships/tags" Target="../tags/tag185.xml"/><Relationship Id="rId1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35.xml"/><Relationship Id="rId30" Type="http://schemas.openxmlformats.org/officeDocument/2006/relationships/tags" Target="../tags/tag133.xml"/><Relationship Id="rId35" Type="http://schemas.openxmlformats.org/officeDocument/2006/relationships/tags" Target="../tags/tag138.xml"/><Relationship Id="rId56" Type="http://schemas.openxmlformats.org/officeDocument/2006/relationships/tags" Target="../tags/tag159.xml"/><Relationship Id="rId77" Type="http://schemas.openxmlformats.org/officeDocument/2006/relationships/tags" Target="../tags/tag180.xml"/><Relationship Id="rId100" Type="http://schemas.openxmlformats.org/officeDocument/2006/relationships/tags" Target="../tags/tag203.xml"/><Relationship Id="rId105" Type="http://schemas.openxmlformats.org/officeDocument/2006/relationships/tags" Target="../tags/tag208.xml"/><Relationship Id="rId126" Type="http://schemas.openxmlformats.org/officeDocument/2006/relationships/tags" Target="../tags/tag229.xml"/><Relationship Id="rId8" Type="http://schemas.openxmlformats.org/officeDocument/2006/relationships/slideLayout" Target="../slideLayouts/slideLayout29.xml"/><Relationship Id="rId51" Type="http://schemas.openxmlformats.org/officeDocument/2006/relationships/tags" Target="../tags/tag154.xml"/><Relationship Id="rId72" Type="http://schemas.openxmlformats.org/officeDocument/2006/relationships/tags" Target="../tags/tag175.xml"/><Relationship Id="rId93" Type="http://schemas.openxmlformats.org/officeDocument/2006/relationships/tags" Target="../tags/tag196.xml"/><Relationship Id="rId98" Type="http://schemas.openxmlformats.org/officeDocument/2006/relationships/tags" Target="../tags/tag201.xml"/><Relationship Id="rId121" Type="http://schemas.openxmlformats.org/officeDocument/2006/relationships/tags" Target="../tags/tag224.xml"/><Relationship Id="rId142" Type="http://schemas.openxmlformats.org/officeDocument/2006/relationships/tags" Target="../tags/tag245.xml"/><Relationship Id="rId3" Type="http://schemas.openxmlformats.org/officeDocument/2006/relationships/slideLayout" Target="../slideLayouts/slideLayout24.xml"/><Relationship Id="rId25" Type="http://schemas.openxmlformats.org/officeDocument/2006/relationships/tags" Target="../tags/tag128.xml"/><Relationship Id="rId46" Type="http://schemas.openxmlformats.org/officeDocument/2006/relationships/tags" Target="../tags/tag149.xml"/><Relationship Id="rId67" Type="http://schemas.openxmlformats.org/officeDocument/2006/relationships/tags" Target="../tags/tag170.xml"/><Relationship Id="rId116" Type="http://schemas.openxmlformats.org/officeDocument/2006/relationships/tags" Target="../tags/tag219.xml"/><Relationship Id="rId137" Type="http://schemas.openxmlformats.org/officeDocument/2006/relationships/tags" Target="../tags/tag240.xml"/><Relationship Id="rId20" Type="http://schemas.openxmlformats.org/officeDocument/2006/relationships/slideLayout" Target="../slideLayouts/slideLayout41.xml"/><Relationship Id="rId41" Type="http://schemas.openxmlformats.org/officeDocument/2006/relationships/tags" Target="../tags/tag144.xml"/><Relationship Id="rId62" Type="http://schemas.openxmlformats.org/officeDocument/2006/relationships/tags" Target="../tags/tag165.xml"/><Relationship Id="rId83" Type="http://schemas.openxmlformats.org/officeDocument/2006/relationships/tags" Target="../tags/tag186.xml"/><Relationship Id="rId88" Type="http://schemas.openxmlformats.org/officeDocument/2006/relationships/tags" Target="../tags/tag191.xml"/><Relationship Id="rId111" Type="http://schemas.openxmlformats.org/officeDocument/2006/relationships/tags" Target="../tags/tag214.xml"/><Relationship Id="rId132" Type="http://schemas.openxmlformats.org/officeDocument/2006/relationships/tags" Target="../tags/tag235.xml"/><Relationship Id="rId15" Type="http://schemas.openxmlformats.org/officeDocument/2006/relationships/slideLayout" Target="../slideLayouts/slideLayout36.xml"/><Relationship Id="rId36" Type="http://schemas.openxmlformats.org/officeDocument/2006/relationships/tags" Target="../tags/tag139.xml"/><Relationship Id="rId57" Type="http://schemas.openxmlformats.org/officeDocument/2006/relationships/tags" Target="../tags/tag160.xml"/><Relationship Id="rId106" Type="http://schemas.openxmlformats.org/officeDocument/2006/relationships/tags" Target="../tags/tag209.xml"/><Relationship Id="rId127" Type="http://schemas.openxmlformats.org/officeDocument/2006/relationships/tags" Target="../tags/tag230.xml"/><Relationship Id="rId10" Type="http://schemas.openxmlformats.org/officeDocument/2006/relationships/slideLayout" Target="../slideLayouts/slideLayout31.xml"/><Relationship Id="rId31" Type="http://schemas.openxmlformats.org/officeDocument/2006/relationships/tags" Target="../tags/tag134.xml"/><Relationship Id="rId52" Type="http://schemas.openxmlformats.org/officeDocument/2006/relationships/tags" Target="../tags/tag155.xml"/><Relationship Id="rId73" Type="http://schemas.openxmlformats.org/officeDocument/2006/relationships/tags" Target="../tags/tag176.xml"/><Relationship Id="rId78" Type="http://schemas.openxmlformats.org/officeDocument/2006/relationships/tags" Target="../tags/tag181.xml"/><Relationship Id="rId94" Type="http://schemas.openxmlformats.org/officeDocument/2006/relationships/tags" Target="../tags/tag197.xml"/><Relationship Id="rId99" Type="http://schemas.openxmlformats.org/officeDocument/2006/relationships/tags" Target="../tags/tag202.xml"/><Relationship Id="rId101" Type="http://schemas.openxmlformats.org/officeDocument/2006/relationships/tags" Target="../tags/tag204.xml"/><Relationship Id="rId122" Type="http://schemas.openxmlformats.org/officeDocument/2006/relationships/tags" Target="../tags/tag225.xml"/><Relationship Id="rId143" Type="http://schemas.openxmlformats.org/officeDocument/2006/relationships/tags" Target="../tags/tag246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26" Type="http://schemas.openxmlformats.org/officeDocument/2006/relationships/tags" Target="../tags/tag129.xml"/><Relationship Id="rId47" Type="http://schemas.openxmlformats.org/officeDocument/2006/relationships/tags" Target="../tags/tag150.xml"/><Relationship Id="rId68" Type="http://schemas.openxmlformats.org/officeDocument/2006/relationships/tags" Target="../tags/tag171.xml"/><Relationship Id="rId89" Type="http://schemas.openxmlformats.org/officeDocument/2006/relationships/tags" Target="../tags/tag192.xml"/><Relationship Id="rId112" Type="http://schemas.openxmlformats.org/officeDocument/2006/relationships/tags" Target="../tags/tag215.xml"/><Relationship Id="rId133" Type="http://schemas.openxmlformats.org/officeDocument/2006/relationships/tags" Target="../tags/tag236.xml"/><Relationship Id="rId16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269.xml"/><Relationship Id="rId117" Type="http://schemas.openxmlformats.org/officeDocument/2006/relationships/tags" Target="../tags/tag360.xml"/><Relationship Id="rId21" Type="http://schemas.openxmlformats.org/officeDocument/2006/relationships/tags" Target="../tags/tag264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63" Type="http://schemas.openxmlformats.org/officeDocument/2006/relationships/tags" Target="../tags/tag306.xml"/><Relationship Id="rId68" Type="http://schemas.openxmlformats.org/officeDocument/2006/relationships/tags" Target="../tags/tag311.xml"/><Relationship Id="rId84" Type="http://schemas.openxmlformats.org/officeDocument/2006/relationships/tags" Target="../tags/tag327.xml"/><Relationship Id="rId89" Type="http://schemas.openxmlformats.org/officeDocument/2006/relationships/tags" Target="../tags/tag332.xml"/><Relationship Id="rId112" Type="http://schemas.openxmlformats.org/officeDocument/2006/relationships/tags" Target="../tags/tag355.xml"/><Relationship Id="rId16" Type="http://schemas.openxmlformats.org/officeDocument/2006/relationships/tags" Target="../tags/tag259.xml"/><Relationship Id="rId107" Type="http://schemas.openxmlformats.org/officeDocument/2006/relationships/tags" Target="../tags/tag350.xml"/><Relationship Id="rId11" Type="http://schemas.openxmlformats.org/officeDocument/2006/relationships/tags" Target="../tags/tag254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74" Type="http://schemas.openxmlformats.org/officeDocument/2006/relationships/tags" Target="../tags/tag317.xml"/><Relationship Id="rId79" Type="http://schemas.openxmlformats.org/officeDocument/2006/relationships/tags" Target="../tags/tag322.xml"/><Relationship Id="rId102" Type="http://schemas.openxmlformats.org/officeDocument/2006/relationships/tags" Target="../tags/tag345.xml"/><Relationship Id="rId123" Type="http://schemas.openxmlformats.org/officeDocument/2006/relationships/tags" Target="../tags/tag366.xml"/><Relationship Id="rId5" Type="http://schemas.openxmlformats.org/officeDocument/2006/relationships/tags" Target="../tags/tag248.xml"/><Relationship Id="rId90" Type="http://schemas.openxmlformats.org/officeDocument/2006/relationships/tags" Target="../tags/tag333.xml"/><Relationship Id="rId95" Type="http://schemas.openxmlformats.org/officeDocument/2006/relationships/tags" Target="../tags/tag338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64" Type="http://schemas.openxmlformats.org/officeDocument/2006/relationships/tags" Target="../tags/tag307.xml"/><Relationship Id="rId69" Type="http://schemas.openxmlformats.org/officeDocument/2006/relationships/tags" Target="../tags/tag312.xml"/><Relationship Id="rId113" Type="http://schemas.openxmlformats.org/officeDocument/2006/relationships/tags" Target="../tags/tag356.xml"/><Relationship Id="rId118" Type="http://schemas.openxmlformats.org/officeDocument/2006/relationships/tags" Target="../tags/tag361.xml"/><Relationship Id="rId80" Type="http://schemas.openxmlformats.org/officeDocument/2006/relationships/tags" Target="../tags/tag323.xml"/><Relationship Id="rId85" Type="http://schemas.openxmlformats.org/officeDocument/2006/relationships/tags" Target="../tags/tag328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59" Type="http://schemas.openxmlformats.org/officeDocument/2006/relationships/tags" Target="../tags/tag302.xml"/><Relationship Id="rId103" Type="http://schemas.openxmlformats.org/officeDocument/2006/relationships/tags" Target="../tags/tag346.xml"/><Relationship Id="rId108" Type="http://schemas.openxmlformats.org/officeDocument/2006/relationships/tags" Target="../tags/tag351.xml"/><Relationship Id="rId124" Type="http://schemas.openxmlformats.org/officeDocument/2006/relationships/tags" Target="../tags/tag367.xml"/><Relationship Id="rId54" Type="http://schemas.openxmlformats.org/officeDocument/2006/relationships/tags" Target="../tags/tag297.xml"/><Relationship Id="rId70" Type="http://schemas.openxmlformats.org/officeDocument/2006/relationships/tags" Target="../tags/tag313.xml"/><Relationship Id="rId75" Type="http://schemas.openxmlformats.org/officeDocument/2006/relationships/tags" Target="../tags/tag318.xml"/><Relationship Id="rId91" Type="http://schemas.openxmlformats.org/officeDocument/2006/relationships/tags" Target="../tags/tag334.xml"/><Relationship Id="rId96" Type="http://schemas.openxmlformats.org/officeDocument/2006/relationships/tags" Target="../tags/tag339.xml"/><Relationship Id="rId1" Type="http://schemas.openxmlformats.org/officeDocument/2006/relationships/slideLayout" Target="../slideLayouts/slideLayout42.xml"/><Relationship Id="rId6" Type="http://schemas.openxmlformats.org/officeDocument/2006/relationships/tags" Target="../tags/tag249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49" Type="http://schemas.openxmlformats.org/officeDocument/2006/relationships/tags" Target="../tags/tag292.xml"/><Relationship Id="rId114" Type="http://schemas.openxmlformats.org/officeDocument/2006/relationships/tags" Target="../tags/tag357.xml"/><Relationship Id="rId119" Type="http://schemas.openxmlformats.org/officeDocument/2006/relationships/tags" Target="../tags/tag362.xml"/><Relationship Id="rId44" Type="http://schemas.openxmlformats.org/officeDocument/2006/relationships/tags" Target="../tags/tag287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81" Type="http://schemas.openxmlformats.org/officeDocument/2006/relationships/tags" Target="../tags/tag324.xml"/><Relationship Id="rId86" Type="http://schemas.openxmlformats.org/officeDocument/2006/relationships/tags" Target="../tags/tag329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9" Type="http://schemas.openxmlformats.org/officeDocument/2006/relationships/tags" Target="../tags/tag282.xml"/><Relationship Id="rId109" Type="http://schemas.openxmlformats.org/officeDocument/2006/relationships/tags" Target="../tags/tag352.xml"/><Relationship Id="rId34" Type="http://schemas.openxmlformats.org/officeDocument/2006/relationships/tags" Target="../tags/tag277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76" Type="http://schemas.openxmlformats.org/officeDocument/2006/relationships/tags" Target="../tags/tag319.xml"/><Relationship Id="rId97" Type="http://schemas.openxmlformats.org/officeDocument/2006/relationships/tags" Target="../tags/tag340.xml"/><Relationship Id="rId104" Type="http://schemas.openxmlformats.org/officeDocument/2006/relationships/tags" Target="../tags/tag347.xml"/><Relationship Id="rId120" Type="http://schemas.openxmlformats.org/officeDocument/2006/relationships/tags" Target="../tags/tag363.xml"/><Relationship Id="rId125" Type="http://schemas.openxmlformats.org/officeDocument/2006/relationships/tags" Target="../tags/tag368.xml"/><Relationship Id="rId7" Type="http://schemas.openxmlformats.org/officeDocument/2006/relationships/tags" Target="../tags/tag250.xml"/><Relationship Id="rId71" Type="http://schemas.openxmlformats.org/officeDocument/2006/relationships/tags" Target="../tags/tag314.xml"/><Relationship Id="rId92" Type="http://schemas.openxmlformats.org/officeDocument/2006/relationships/tags" Target="../tags/tag335.xml"/><Relationship Id="rId2" Type="http://schemas.openxmlformats.org/officeDocument/2006/relationships/slideLayout" Target="../slideLayouts/slideLayout43.xml"/><Relationship Id="rId29" Type="http://schemas.openxmlformats.org/officeDocument/2006/relationships/tags" Target="../tags/tag272.xml"/><Relationship Id="rId24" Type="http://schemas.openxmlformats.org/officeDocument/2006/relationships/tags" Target="../tags/tag267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66" Type="http://schemas.openxmlformats.org/officeDocument/2006/relationships/tags" Target="../tags/tag309.xml"/><Relationship Id="rId87" Type="http://schemas.openxmlformats.org/officeDocument/2006/relationships/tags" Target="../tags/tag330.xml"/><Relationship Id="rId110" Type="http://schemas.openxmlformats.org/officeDocument/2006/relationships/tags" Target="../tags/tag353.xml"/><Relationship Id="rId115" Type="http://schemas.openxmlformats.org/officeDocument/2006/relationships/tags" Target="../tags/tag358.xml"/><Relationship Id="rId61" Type="http://schemas.openxmlformats.org/officeDocument/2006/relationships/tags" Target="../tags/tag304.xml"/><Relationship Id="rId82" Type="http://schemas.openxmlformats.org/officeDocument/2006/relationships/tags" Target="../tags/tag325.xml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56" Type="http://schemas.openxmlformats.org/officeDocument/2006/relationships/tags" Target="../tags/tag299.xml"/><Relationship Id="rId77" Type="http://schemas.openxmlformats.org/officeDocument/2006/relationships/tags" Target="../tags/tag320.xml"/><Relationship Id="rId100" Type="http://schemas.openxmlformats.org/officeDocument/2006/relationships/tags" Target="../tags/tag343.xml"/><Relationship Id="rId105" Type="http://schemas.openxmlformats.org/officeDocument/2006/relationships/tags" Target="../tags/tag348.xml"/><Relationship Id="rId126" Type="http://schemas.openxmlformats.org/officeDocument/2006/relationships/tags" Target="../tags/tag369.xml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72" Type="http://schemas.openxmlformats.org/officeDocument/2006/relationships/tags" Target="../tags/tag315.xml"/><Relationship Id="rId93" Type="http://schemas.openxmlformats.org/officeDocument/2006/relationships/tags" Target="../tags/tag336.xml"/><Relationship Id="rId98" Type="http://schemas.openxmlformats.org/officeDocument/2006/relationships/tags" Target="../tags/tag341.xml"/><Relationship Id="rId121" Type="http://schemas.openxmlformats.org/officeDocument/2006/relationships/tags" Target="../tags/tag364.xml"/><Relationship Id="rId3" Type="http://schemas.openxmlformats.org/officeDocument/2006/relationships/slideLayout" Target="../slideLayouts/slideLayout44.xml"/><Relationship Id="rId25" Type="http://schemas.openxmlformats.org/officeDocument/2006/relationships/tags" Target="../tags/tag268.xml"/><Relationship Id="rId46" Type="http://schemas.openxmlformats.org/officeDocument/2006/relationships/tags" Target="../tags/tag289.xml"/><Relationship Id="rId67" Type="http://schemas.openxmlformats.org/officeDocument/2006/relationships/tags" Target="../tags/tag310.xml"/><Relationship Id="rId116" Type="http://schemas.openxmlformats.org/officeDocument/2006/relationships/tags" Target="../tags/tag359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62" Type="http://schemas.openxmlformats.org/officeDocument/2006/relationships/tags" Target="../tags/tag305.xml"/><Relationship Id="rId83" Type="http://schemas.openxmlformats.org/officeDocument/2006/relationships/tags" Target="../tags/tag326.xml"/><Relationship Id="rId88" Type="http://schemas.openxmlformats.org/officeDocument/2006/relationships/tags" Target="../tags/tag331.xml"/><Relationship Id="rId111" Type="http://schemas.openxmlformats.org/officeDocument/2006/relationships/tags" Target="../tags/tag354.xml"/><Relationship Id="rId15" Type="http://schemas.openxmlformats.org/officeDocument/2006/relationships/tags" Target="../tags/tag258.xml"/><Relationship Id="rId36" Type="http://schemas.openxmlformats.org/officeDocument/2006/relationships/tags" Target="../tags/tag279.xml"/><Relationship Id="rId57" Type="http://schemas.openxmlformats.org/officeDocument/2006/relationships/tags" Target="../tags/tag300.xml"/><Relationship Id="rId106" Type="http://schemas.openxmlformats.org/officeDocument/2006/relationships/tags" Target="../tags/tag349.xml"/><Relationship Id="rId127" Type="http://schemas.openxmlformats.org/officeDocument/2006/relationships/tags" Target="../tags/tag370.xm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52" Type="http://schemas.openxmlformats.org/officeDocument/2006/relationships/tags" Target="../tags/tag295.xml"/><Relationship Id="rId73" Type="http://schemas.openxmlformats.org/officeDocument/2006/relationships/tags" Target="../tags/tag316.xml"/><Relationship Id="rId78" Type="http://schemas.openxmlformats.org/officeDocument/2006/relationships/tags" Target="../tags/tag321.xml"/><Relationship Id="rId94" Type="http://schemas.openxmlformats.org/officeDocument/2006/relationships/tags" Target="../tags/tag337.xml"/><Relationship Id="rId99" Type="http://schemas.openxmlformats.org/officeDocument/2006/relationships/tags" Target="../tags/tag342.xml"/><Relationship Id="rId101" Type="http://schemas.openxmlformats.org/officeDocument/2006/relationships/tags" Target="../tags/tag344.xml"/><Relationship Id="rId122" Type="http://schemas.openxmlformats.org/officeDocument/2006/relationships/tags" Target="../tags/tag365.xml"/><Relationship Id="rId4" Type="http://schemas.openxmlformats.org/officeDocument/2006/relationships/theme" Target="../theme/theme3.xml"/><Relationship Id="rId9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12" name="Copyright Placeholder" descr="{&quot;templafy&quot;:{&quot;id&quot;:&quot;3fb88df3-eaa2-4d6d-adef-56a3d48829d6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5" r:id="rId3"/>
    <p:sldLayoutId id="2147483741" r:id="rId4"/>
    <p:sldLayoutId id="2147483765" r:id="rId5"/>
    <p:sldLayoutId id="2147483767" r:id="rId6"/>
    <p:sldLayoutId id="2147483743" r:id="rId7"/>
    <p:sldLayoutId id="2147483774" r:id="rId8"/>
    <p:sldLayoutId id="2147483745" r:id="rId9"/>
    <p:sldLayoutId id="2147483760" r:id="rId10"/>
    <p:sldLayoutId id="2147483768" r:id="rId11"/>
    <p:sldLayoutId id="2147483769" r:id="rId12"/>
    <p:sldLayoutId id="2147483770" r:id="rId13"/>
    <p:sldLayoutId id="2147483744" r:id="rId14"/>
    <p:sldLayoutId id="2147483757" r:id="rId15"/>
    <p:sldLayoutId id="2147483771" r:id="rId16"/>
    <p:sldLayoutId id="2147483763" r:id="rId17"/>
    <p:sldLayoutId id="2147483751" r:id="rId18"/>
    <p:sldLayoutId id="2147483756" r:id="rId19"/>
    <p:sldLayoutId id="2147483740" r:id="rId20"/>
    <p:sldLayoutId id="2147483839" r:id="rId2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pyright Placeholder" descr="{&quot;templafy&quot;:{&quot;id&quot;:&quot;a3036962-ab0a-4906-9dc7-289e0866334f&quot;}}">
            <a:extLst>
              <a:ext uri="{FF2B5EF4-FFF2-40B4-BE49-F238E27FC236}">
                <a16:creationId xmlns:a16="http://schemas.microsoft.com/office/drawing/2014/main" id="{28F8FEF7-307E-4186-BE83-C7F901EBFBB2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0"/>
            <a:ext cx="10155600" cy="1384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7" name="Harvey 3" hidden="1">
            <a:extLst>
              <a:ext uri="{FF2B5EF4-FFF2-40B4-BE49-F238E27FC236}">
                <a16:creationId xmlns:a16="http://schemas.microsoft.com/office/drawing/2014/main" id="{E2DD6C7F-2784-4085-B35E-D0CF93151D32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8" name="Harvey 0/3 [0]">
              <a:extLst>
                <a:ext uri="{FF2B5EF4-FFF2-40B4-BE49-F238E27FC236}">
                  <a16:creationId xmlns:a16="http://schemas.microsoft.com/office/drawing/2014/main" id="{76D1956A-873B-484E-BE75-6EDE3EFEDCC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7A8F53B0-6F79-4898-A0C4-A91F7DB00E6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67E7417D-4B0A-4A13-A4D7-B51B7C58CC54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94AD8207-D125-429F-A09F-08C9EE19B157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6B608003-5C72-434E-8F1C-BF7F4CA4A26C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0467B57E-FAD8-4950-97F9-ECAB5EC75227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37FDC8-754C-4807-899B-A34C337B435F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500E3869-B32B-4A08-829A-07819962707F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83770D17-214F-4DFB-8C4A-75BCB6FDCCF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2298CBDE-E2CD-44DD-81DA-565BDE17B854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65A741E4-88C1-4827-B19E-63A8295DED86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D63D2936-46EA-44E4-95BC-083F8C581A0C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D096D980-9CFC-4294-9B40-92841B87F31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9B0FC65-F825-4960-BF8A-E86755376C2C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72489F0D-9F1E-4F64-B7DC-7C979BD81FA6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4F47161A-836E-4CB2-97C4-5ABCB035EE25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D80539EF-20E9-4266-BD06-3959673E5243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C88D2627-1A78-4152-B77C-58669AC49F36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F8117399-4ECF-44E9-9BC8-A7C83760976C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B912D41C-14ED-4BE0-96D3-6AEB2ED794D2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2C4AA9A9-EE14-41CD-8AD6-AC987D77FC0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0B60B67C-997A-4EB0-98E0-CA4E4E4B5118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7DAEEFA9-09E0-4535-8058-345772E9D551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C84C906D-AC0F-4F5B-B334-51FDEA499286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5331B348-43F5-457E-9C20-7EAAD007F74A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18D263CF-2B62-4C47-BE83-FD72BDBDB277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DB8F581D-8CF4-44A7-B4F4-0DE74457F25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383A6352-9EAD-4A05-8ABD-66158F752B7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AC78B9F4-DF17-4E2D-9790-668D5CEC3049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2577ED03-E1A5-42A1-8DCD-AEFD054EB87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9B167A94-DCC5-461B-9970-C5FFF47CB64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5A26E699-12E3-4167-ADED-3C1AF764FAA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820A8FC-3CE4-4CBA-BAE6-398A7F026B55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31F16729-DFEC-43AE-96FD-5ADAD841109F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E4398C50-BFFD-487F-93AC-1F2177BB3B86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675D9417-20D9-4833-9CE5-50B08671378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666FBE4-3CEE-43B7-83C1-0C2A47739511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F979B8E0-5904-481A-B1E1-9C6D95DF9F7C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71716968-2083-4153-9DAA-3F8C26432ACE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C1D12AF8-310A-4A60-A8D9-E26C9D0D94FD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587885C-11FD-4365-93C9-369845C5B1D3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0DFEA4D6-DB33-4BA0-9B39-C6DC449D6DCF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6B616720-F062-4402-A6C1-F4CBA52171D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E4A5CA2-E839-4E73-A274-49DE99B1C50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3DCD53C2-A835-4CB8-9468-2C92013F44B5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0BD9113F-8ACE-463E-BEF7-5D2C960A1E3D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A0C79897-7FEB-441B-A4CB-F5B74F5352FA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88DEA423-7272-4270-BD71-9ACAEB894DD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ABF9DC9D-9784-42F7-9BC1-D959BA5B29A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253A0F1B-274A-4C2F-8909-10DCC3C664C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F088766A-C09E-41AD-B4A8-037680E089A0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33917A65-AD51-4648-AAB4-80520AB0DF59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60CB2766-A8A0-4EC5-93AC-A9FA9B2EDF87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CAC81949-5BCB-4FFD-9284-D4C754DB7E6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86CD47EE-4D9E-42B8-B6AB-5866BABF0A8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0F21930-7819-4484-8BC2-24ADAFBF4661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6BAC333F-8F1A-461D-A13A-543036E6C36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C3343ED1-4EC6-4E9E-B0D4-04063CCDCBA5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A708B5F6-5DEF-4C81-B17E-B40298FAFF37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A66921B0-1234-4643-AEDF-EA370AB72678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33DF93CE-4BEC-4E23-B207-3A3D24BA88DB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743BBE64-E8AE-431B-A3F5-0BC3EFCF17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9A92A148-61C9-4A68-B88F-DEBF70F366D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95B2275-79DF-4600-968F-4A342730E5D7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0EDDDB89-4687-4E79-B4A5-CEA4DC104A0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C55ACE0A-FE8C-4946-90E5-595C4B50ECB8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C3C97B00-88DC-4936-B5A6-A08A75F0ABB5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92F6FFA4-3CBC-4B59-9D72-AFC05873917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4E849BB4-2601-4C2B-B994-35A1C0E7E5CA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94CAB759-7BC1-4DBC-B899-C726287011FE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046DACFB-25FF-4C07-9C05-79EA15EE9F0E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D5CE1598-6D7A-4D44-8C77-406476D5C52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F2DF6732-AEFD-4697-BC9B-C58EB9BA8E40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16803592-72AA-4516-A884-525A808682B4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5F99AC13-0D56-4AE3-AEA7-5C4F5708B17A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541F1DB6-93AE-4A84-AB2D-8BC8F86C3D84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D502E6B1-F368-4550-A4D3-B3010A99F663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4720ED11-4A42-479C-84D4-DDDADFCA8B0B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21A74775-B349-48A0-8EB3-EB08D561D6B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0B6A7A23-5EE1-4D66-89A0-9F9216A2BE97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97A2BD28-5A14-44CC-AF36-E25E51CB04F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FD9F7980-1AFD-41C1-8F06-2BD58E9E7DB3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1F6026E1-58EA-4165-9806-8320F1A2151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6D59B6D1-D4A0-486E-B6B9-3FE8ECF9C85C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72CA5142-D8D9-42C7-8426-2AAC92BBC5C5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8C402CD6-E17F-4364-A73B-136161E50AD6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01BAEB30-CD03-4381-BDDE-20B657FE5739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A3D46CD0-3F66-416E-BAFF-126E1A4784A7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0F1B6B8A-04A8-44E5-84B4-58A3959BB46B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06028C46-1883-45B7-8314-A8D2BF1FBD61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F99BDCEF-D0B7-4B1D-9B03-512515EB7624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CC7813EC-4BD1-43A5-BA1A-26ACB8B2E6FA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8162D4CF-AA2B-4374-92D5-BD31E37529FF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10989EA-C787-4E9F-8213-206712EC3CFE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67A73065-5334-4F41-A369-8EB437B331D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14727066-BEC2-49F3-AA3E-E3A425402A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113B9B44-4595-4732-933D-6C0AA7F533B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06EBC64F-EA62-4482-A2A7-5939C0723B11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33897A80-E31B-4861-AB97-6833FD1866E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B0225A30-1CA9-4637-83EA-DCD6E18DED7D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97423E78-84B8-41A4-88C0-2B85AECC0B84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0A0180-433B-47A5-BF80-1EEB17480B28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9926ED4B-698A-4425-A478-27C93E5CE58B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7D7BFD81-01C8-4719-9A58-A31303343AA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C087B679-2D15-4E9F-B11A-BB0FE103AF93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11D03C6A-977B-4008-8A7A-3E2151BE46B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082E0242-5963-4F00-A534-FEF1C51B9AFA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52079047-834D-4C25-BFD9-12E3AD917B28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203379C-10FF-442E-9FC3-2B647AC3BDFD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92333550-029A-4109-95FE-C047B815C2D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1F32300F-FDD5-4B38-864C-CB443526AD71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697ADF22-F97D-4F1C-BCC7-E4612CB741D3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9056A6F9-3DA3-4E9B-9E20-5113253AFD2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AE2D63FA-5325-44CA-8AD7-EF0DF6F08E6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FAC70D65-FE27-4362-B6CB-C8E98F2364A0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81AD4C59-EFEF-459D-A27F-15A14689541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10332771-7241-4A69-9E3B-39EE0DD599DB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ECCA8BB1-856A-44D2-836F-0D09CCB6E63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817876D5-B5AE-4CB9-91F0-3216E405ABFC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590CBEB8-26D2-44A7-AFC9-3B1CFAFBFD58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9E11B621-B7C7-42B9-B8C0-3204D6DB8B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D0CABEAB-553B-494A-B777-460445E83DC6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68B218BD-395A-4502-A94E-A08DE8654F26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A7961E44-961D-4848-8CEB-1EFCB33CB293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37E592D2-D46E-4E6F-83FE-862FA73EFB5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4CFF5549-C64F-4551-8F2F-5D3B660A367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8FE9E35B-59B2-4A10-A724-3DFA5A54B44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A4D308D9-9560-4C6C-90F4-615C4E747CF1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27E0EE38-41B7-4F78-8FF1-CBCB26374803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FE8C0B9-ACE9-4D2C-ADF2-5408026F7DD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C71CC93-5EE5-4874-AD2D-4189352D970E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48CE323D-DC14-4B3E-B71E-DD8022C75652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15AE75A8-6AB5-4AF9-9E1C-D8D161F64E6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601717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4" r:id="rId16"/>
    <p:sldLayoutId id="2147483835" r:id="rId17"/>
    <p:sldLayoutId id="2147483836" r:id="rId18"/>
    <p:sldLayoutId id="2147483837" r:id="rId19"/>
    <p:sldLayoutId id="2147483838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F6D7778-F272-4F12-ADD2-8AE6FF10DDDC}"/>
              </a:ext>
            </a:extLst>
          </p:cNvPr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8" name="Text Placeholder 9" descr="{&quot;templafy&quot;:{&quot;id&quot;:&quot;426829f3-a068-40dd-990f-0d6c65b91b0a&quot;}}">
            <a:extLst>
              <a:ext uri="{FF2B5EF4-FFF2-40B4-BE49-F238E27FC236}">
                <a16:creationId xmlns:a16="http://schemas.microsoft.com/office/drawing/2014/main" id="{E2298AE1-CDB8-4D61-8E3E-B33DFA9BF7BF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8DC1505A-D53E-46CB-98E1-B26FE6EF50E2}"/>
              </a:ext>
            </a:extLst>
          </p:cNvPr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B03385C0-FA62-482E-86F8-51D141991BA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2AF839AF-2E27-4E20-AC45-63BF5A3D6D5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2BBEF0FA-98A4-41EB-8C3C-CDC4A995229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588E309A-5C95-4579-A744-8BCF77C6484D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FAAF2626-AAF4-4D60-8827-D9A28E763C6A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4" name="Harvey 0/4 [0]">
              <a:extLst>
                <a:ext uri="{FF2B5EF4-FFF2-40B4-BE49-F238E27FC236}">
                  <a16:creationId xmlns:a16="http://schemas.microsoft.com/office/drawing/2014/main" id="{2DF0EC80-934B-46F9-B89F-1A2188954F1C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1/4 [1]">
              <a:extLst>
                <a:ext uri="{FF2B5EF4-FFF2-40B4-BE49-F238E27FC236}">
                  <a16:creationId xmlns:a16="http://schemas.microsoft.com/office/drawing/2014/main" id="{1A34F556-9FC3-43DE-B08C-349BA9AF8100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2/4 [2]">
              <a:extLst>
                <a:ext uri="{FF2B5EF4-FFF2-40B4-BE49-F238E27FC236}">
                  <a16:creationId xmlns:a16="http://schemas.microsoft.com/office/drawing/2014/main" id="{B4650B2C-1EE2-4EBC-AAA6-824B8B062675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3/4 [3]">
              <a:extLst>
                <a:ext uri="{FF2B5EF4-FFF2-40B4-BE49-F238E27FC236}">
                  <a16:creationId xmlns:a16="http://schemas.microsoft.com/office/drawing/2014/main" id="{E1D9DFDA-DACB-4022-B941-267860F5012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Harvey 4/4 [4]">
              <a:extLst>
                <a:ext uri="{FF2B5EF4-FFF2-40B4-BE49-F238E27FC236}">
                  <a16:creationId xmlns:a16="http://schemas.microsoft.com/office/drawing/2014/main" id="{535A9AAC-D900-41AC-A7D2-7B637F94A43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Harvey 8" hidden="1">
            <a:extLst>
              <a:ext uri="{FF2B5EF4-FFF2-40B4-BE49-F238E27FC236}">
                <a16:creationId xmlns:a16="http://schemas.microsoft.com/office/drawing/2014/main" id="{ED8A5D7C-2D26-46E7-AB93-04C15BD4F716}"/>
              </a:ext>
            </a:extLst>
          </p:cNvPr>
          <p:cNvGrpSpPr>
            <a:grpSpLocks/>
          </p:cNvGrpSpPr>
          <p:nvPr userDrawn="1">
            <p:custDataLst>
              <p:tags r:id="rId7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20" name="Harvey 0/8 [0]">
              <a:extLst>
                <a:ext uri="{FF2B5EF4-FFF2-40B4-BE49-F238E27FC236}">
                  <a16:creationId xmlns:a16="http://schemas.microsoft.com/office/drawing/2014/main" id="{7D039D96-0D6A-4F0E-B841-1D6BDE482450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1/8 [1]">
              <a:extLst>
                <a:ext uri="{FF2B5EF4-FFF2-40B4-BE49-F238E27FC236}">
                  <a16:creationId xmlns:a16="http://schemas.microsoft.com/office/drawing/2014/main" id="{B3C7964C-88AB-43A7-A51A-B4AB84CE7A54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2/8 [2]">
              <a:extLst>
                <a:ext uri="{FF2B5EF4-FFF2-40B4-BE49-F238E27FC236}">
                  <a16:creationId xmlns:a16="http://schemas.microsoft.com/office/drawing/2014/main" id="{C7AE6770-5215-45FF-B014-86AA2ECC4829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3/8 [3]">
              <a:extLst>
                <a:ext uri="{FF2B5EF4-FFF2-40B4-BE49-F238E27FC236}">
                  <a16:creationId xmlns:a16="http://schemas.microsoft.com/office/drawing/2014/main" id="{E8B0F36E-0ABF-4BAA-A7DF-E85B8A54FB4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4/8 [4]">
              <a:extLst>
                <a:ext uri="{FF2B5EF4-FFF2-40B4-BE49-F238E27FC236}">
                  <a16:creationId xmlns:a16="http://schemas.microsoft.com/office/drawing/2014/main" id="{E3A6F114-74F3-42E9-A2FB-6219EF85DF8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5/8 [5]">
              <a:extLst>
                <a:ext uri="{FF2B5EF4-FFF2-40B4-BE49-F238E27FC236}">
                  <a16:creationId xmlns:a16="http://schemas.microsoft.com/office/drawing/2014/main" id="{12F75908-AEE9-43DD-AD5A-408EF10384C2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6/8 [6]">
              <a:extLst>
                <a:ext uri="{FF2B5EF4-FFF2-40B4-BE49-F238E27FC236}">
                  <a16:creationId xmlns:a16="http://schemas.microsoft.com/office/drawing/2014/main" id="{E082B21E-784F-4399-879D-0628B9A6CA6A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7/8 [7]">
              <a:extLst>
                <a:ext uri="{FF2B5EF4-FFF2-40B4-BE49-F238E27FC236}">
                  <a16:creationId xmlns:a16="http://schemas.microsoft.com/office/drawing/2014/main" id="{3D4BC633-AE3B-406A-9741-3CECDA703A70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Harvey 8/8 [8]">
              <a:extLst>
                <a:ext uri="{FF2B5EF4-FFF2-40B4-BE49-F238E27FC236}">
                  <a16:creationId xmlns:a16="http://schemas.microsoft.com/office/drawing/2014/main" id="{FB04349D-8A21-4FA2-8C36-160BB39F77DB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Harvey 100" hidden="1">
            <a:extLst>
              <a:ext uri="{FF2B5EF4-FFF2-40B4-BE49-F238E27FC236}">
                <a16:creationId xmlns:a16="http://schemas.microsoft.com/office/drawing/2014/main" id="{FEA31CD5-AF74-430B-8937-99211CF7A8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30" name="Harvey 0/100 [0]">
              <a:extLst>
                <a:ext uri="{FF2B5EF4-FFF2-40B4-BE49-F238E27FC236}">
                  <a16:creationId xmlns:a16="http://schemas.microsoft.com/office/drawing/2014/main" id="{5F002AD4-5F39-46E2-9F29-123EB333212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1/100 [1]">
              <a:extLst>
                <a:ext uri="{FF2B5EF4-FFF2-40B4-BE49-F238E27FC236}">
                  <a16:creationId xmlns:a16="http://schemas.microsoft.com/office/drawing/2014/main" id="{DABA7BE6-CDF6-4FF3-B498-95C4AE35FF74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2/100 [2]">
              <a:extLst>
                <a:ext uri="{FF2B5EF4-FFF2-40B4-BE49-F238E27FC236}">
                  <a16:creationId xmlns:a16="http://schemas.microsoft.com/office/drawing/2014/main" id="{82A87DF7-E27E-4604-A2B7-629CBBFE62F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3/100 [3]">
              <a:extLst>
                <a:ext uri="{FF2B5EF4-FFF2-40B4-BE49-F238E27FC236}">
                  <a16:creationId xmlns:a16="http://schemas.microsoft.com/office/drawing/2014/main" id="{4317D585-B3EC-4DA3-8086-AAC424E42AC8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Harvey 4/100 [4]">
              <a:extLst>
                <a:ext uri="{FF2B5EF4-FFF2-40B4-BE49-F238E27FC236}">
                  <a16:creationId xmlns:a16="http://schemas.microsoft.com/office/drawing/2014/main" id="{C3DDBA3C-91F3-4FDD-93EF-64F1A71E4620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955D9A72-A1B1-4430-8899-6EA8CDB57BC4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F17AA925-8E7C-4E48-9B34-CEB374E4482F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0D10FB2-DDAD-4A9A-97DC-337072825B76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3C8B0442-BB66-4269-8B84-78DFFC9B5D0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6FC76F65-3AF9-4E83-89E6-4625A93ACC44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A551B3DC-E53E-48F4-9837-11D36FEFD185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1AA92C73-78F8-4C49-8B1C-F9D7FDF29119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A5815C32-B3F1-4806-B3FC-0B34A002B9A8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BCB20F8A-9ED2-456B-B77B-D0ED64F5F8D6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BB501452-143B-4646-AFAA-19BBA74E5EEF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4E1610D0-A2F8-40E5-B9E9-B9F4ADE84C4F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D546B0D-BEEC-4402-9C93-0F0A501089DF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96054A1A-69A4-4D72-80DA-B36810A13E31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A255192B-3D4F-4F14-8B7E-7D5B27AF8124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2463C1CE-78FE-4461-A9B7-C75EA8A9BB11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4728CF39-D3DE-423C-8161-15E78C37CF68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AB9FECCB-7845-4DC1-A3DF-794D6C20BAFA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3173878-638A-447C-87AE-DA1B71FFED22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E9414276-F6FB-4251-AD20-EEB07DC67FA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6743654D-4BD9-4688-87D0-A555060F7F4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3728644-05FA-4385-B2AE-51BDE2F500AF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48BAA2F8-77AD-4F0E-BAB8-E0B69855A783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96219058-74F9-4FB6-B3DF-396DDEA8C820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53EB2F4A-330A-4D2D-BDCA-00ADB39E35A4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11BFFC4F-82C0-48FC-9731-68ED638028E2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B86820E6-F331-4956-BB3C-F026503EC77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04E8E28D-6A69-48B9-BD5A-627B016DEC3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D4F055B1-57CA-468B-BFF5-B09CC09B7F8E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A13FE822-6756-41D8-9FEE-CDCCCFD70D4E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C0428AB4-531C-4FB0-BEE9-A34E1CE3DFDB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E3AA9F5-25B0-4D0A-BA39-80AE52C31FD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8671F1B4-3564-48D3-80D9-366792282DB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3A63619A-8CA1-4B1A-85CD-335017F977B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F07198F2-D644-45A1-B0C6-9AAA450B0B4F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D66457F8-1D40-4CF6-BE06-BF2C73978B03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400C163E-457D-4851-8DE9-6044378DACD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400ECAC2-B757-45C2-8548-03D5903937F8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B940494-301C-49A5-B898-9E2F6AD8C751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E38BF466-C8AC-4453-964C-0721723B3488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DF49DF1E-332B-43E4-9F7D-89231565DE6E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42546EA4-E042-4C37-B531-00EA031B108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336A402D-2A22-4FA9-94E3-3417999DF4C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B77E3120-DBD8-46FF-8E81-468CB9CA5556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C7DE051B-949B-435F-8FE3-5AC23BD79F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CE87981A-50DC-469B-9BED-E410D9C4523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09000150-37F1-44E7-90CE-823F3D818627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7C390C9B-400C-4298-9451-DDA21AE072A5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CD74444C-FD06-494D-A86F-F5A9EF3DF948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71C059AD-2B8D-4AC3-97AC-1C49D748479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B31C6B8A-F9DD-4E14-B631-766D96C6886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0BD4C0AF-89CD-4C1B-957F-8CA5A314A7FE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91B10105-1727-4B9C-8FCD-3D334C87BDE6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10898073-8095-4DE7-AD95-0F8C96BC36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6DAC7101-D4D8-448C-A304-03FD92F4726B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217FF511-93A0-4626-AD9A-E3C9223AB082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B174582B-2B02-49C0-BF3C-2F590DA4B37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33DB99C1-7490-4472-9497-92CB0A05D37F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5B3273E3-981C-4F41-B7C3-9586D2DDB606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B054D749-7282-4A1A-A3AE-FCEA23483CB5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FAD20644-5B4D-4DCF-905C-ADF42E9EB48E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209F7C97-D7C7-4B24-BA42-05A1577E875F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DF1C9977-12F0-4A6D-80C6-EE308E12725D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A71F6A66-C058-4F2F-B290-FA1CC991F64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3DEC417F-7D71-4C5B-8085-B1583B2FCCC6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96A13EE1-EC22-4C01-B4AB-3EF6602FDFB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EFB4A714-9F67-4868-825D-66C4F537A5E2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F19A226F-E078-4A46-A954-75FADD25402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56F7D21-1D93-4B57-ABFA-EE5584CBC7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8B48008C-A1AB-43F4-817D-5E481F7E933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565E5A64-245E-4A5F-89BD-4A608EAB3F91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4D5F9994-73C2-4C23-BA0B-7566D8BE916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BD448083-14BE-4295-B4A4-AED8235312B8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77931D2B-536D-4DE6-AE4C-CB9EA4DE4C61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53E1ED11-19DD-4DE4-B566-1978E4E0FAF7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CCE175F0-4184-4D43-8EF9-EA2D4C1192B8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0A3700C8-F53E-4767-B37F-AC04E744EBAC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0BEC1370-E4B6-4E47-8F9F-15D7D8FB2CFC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4C25E3D8-02DA-44CC-A566-01AA84DC7AE3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D30E4CAB-D224-4135-96E3-C41420C5FF8C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86971F1C-765A-4BE9-BB2E-62BD40EB7C96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7027B79D-E0DD-4E78-BF9B-DF2A0C530F7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B7FD9411-38FE-4E5A-9662-49E94C7C02F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9BFDFBFF-FD42-440B-83A2-ED71871262A4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CAD5BB42-5CEB-4C55-8223-90413902CB0C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69C7B28D-51E4-4227-9093-C514D42A900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3BEADF39-E00B-498D-8CC9-1D5C22643B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110E6742-673F-4B41-964A-7CDD1E4E1D69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86471447-BD67-40A7-9F08-A43B4D8F8BD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4C0E595D-9D01-413C-9699-82CFF38A783B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E50798B7-8A83-431E-9EF2-5D67851CA41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D43B84EE-C86E-4D3F-90D2-DFB5E1CCA1D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96EA00D-C888-4D50-B739-5199600A5DE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0045E86D-0114-4DFD-BC58-E46759227C9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464F7942-D723-4D2E-91EA-3AEF84D34459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C8E37BA9-454A-4082-B576-FC335CC3F8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B0BC0277-15E0-4AB3-BCCF-B6B586D4D83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8495ADBB-87DF-4E47-9C91-45D9C4AC8F45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B468B29C-7B96-4569-96EE-F47CF951513B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9A1CD764-7821-44EC-ADA1-C483C992546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B6FC9C5D-FC2A-46D7-A941-BF2C841A286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EF8BE20D-18E3-40D7-A5DA-108105F38AF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5EB5107-168F-4341-A51A-3E0EC2311F1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929BCB4-707F-4791-A475-B37763C376C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6325548-081C-48A0-A68E-5CA2A59148D7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A43B4339-3778-4A62-8434-905641533AE5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161EC9C5-7BA6-4B4E-859C-15F67506A917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BFFB0CDE-ABC5-4213-9CCB-29844DCD6D92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70909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6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18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17.jpeg"/><Relationship Id="rId2" Type="http://schemas.openxmlformats.org/officeDocument/2006/relationships/tags" Target="../tags/tag371.xml"/><Relationship Id="rId16" Type="http://schemas.openxmlformats.org/officeDocument/2006/relationships/image" Target="../media/image52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42.emf"/><Relationship Id="rId11" Type="http://schemas.openxmlformats.org/officeDocument/2006/relationships/image" Target="../media/image47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51.png"/><Relationship Id="rId10" Type="http://schemas.openxmlformats.org/officeDocument/2006/relationships/image" Target="../media/image4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5.png"/><Relationship Id="rId14" Type="http://schemas.openxmlformats.org/officeDocument/2006/relationships/image" Target="../media/image5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svg"/><Relationship Id="rId9" Type="http://schemas.openxmlformats.org/officeDocument/2006/relationships/image" Target="../media/image65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86001EZbl&amp;comm_hub_field_id_=F1DA732D6686D23BF5BBD64CFEBF5833" TargetMode="External"/><Relationship Id="rId3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647001Ee5O&amp;comm_hub_field_id_=F1DA732D6686D23BF5BBD64CFEBF5833" TargetMode="External"/><Relationship Id="rId7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374001X6GH&amp;comm_hub_field_id_=F1DA732D6686D23BF5BBD64CFEBF5833" TargetMode="External"/><Relationship Id="rId2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877001ERS0&amp;comm_hub_field_id_=F1DA732D6686D23BF5BBD64CFEBF5833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50001EHbd&amp;comm_hub_field_id_=F1DA732D6686D23BF5BBD64CFEBF5833" TargetMode="External"/><Relationship Id="rId11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443001EIc7&amp;comm_hub_field_id_=F1DA732D6686D23BF5BBD64CFEBF5833" TargetMode="External"/><Relationship Id="rId5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15001EwnT&amp;comm_hub_field_id_=F1DA732D6686D23BF5BBD64CFEBF5833" TargetMode="External"/><Relationship Id="rId10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678001X25s&amp;comm_hub_field_id_=F1DA732D6686D23BF5BBD64CFEBF5833" TargetMode="External"/><Relationship Id="rId4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414001XuHl&amp;comm_hub_field_id_=F1DA732D6686D23BF5BBD64CFEBF5833" TargetMode="External"/><Relationship Id="rId9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41428001ExKO&amp;comm_hub_field_id_=F1DA732D6686D23BF5BBD64CFEBF5833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itcertcouncil.org/mp-files/itcc-value-of-it-certification-2021.pdf/" TargetMode="External"/><Relationship Id="rId13" Type="http://schemas.openxmlformats.org/officeDocument/2006/relationships/image" Target="../media/image71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home.pearsonvue.com/About/News/2021/Value-of-IT-Certification-study-highlights-benefit.aspx" TargetMode="External"/><Relationship Id="rId12" Type="http://schemas.openxmlformats.org/officeDocument/2006/relationships/image" Target="../media/image70.png"/><Relationship Id="rId2" Type="http://schemas.openxmlformats.org/officeDocument/2006/relationships/tags" Target="../tags/tag372.xml"/><Relationship Id="rId16" Type="http://schemas.openxmlformats.org/officeDocument/2006/relationships/hyperlink" Target="https://groups.community.sap.com/t5/sap-learning-groups/ct-p/SAP-Learning" TargetMode="Externa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7.emf"/><Relationship Id="rId11" Type="http://schemas.openxmlformats.org/officeDocument/2006/relationships/image" Target="../media/image69.png"/><Relationship Id="rId5" Type="http://schemas.openxmlformats.org/officeDocument/2006/relationships/oleObject" Target="../embeddings/oleObject2.bin"/><Relationship Id="rId15" Type="http://schemas.openxmlformats.org/officeDocument/2006/relationships/hyperlink" Target="https://groups.community.sap.com/t5/sap-teched/gh-p/SAP-TechEd-Group" TargetMode="External"/><Relationship Id="rId10" Type="http://schemas.openxmlformats.org/officeDocument/2006/relationships/hyperlink" Target="https://learning.sap.com/teched" TargetMode="External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8.png"/><Relationship Id="rId14" Type="http://schemas.openxmlformats.org/officeDocument/2006/relationships/image" Target="../media/image72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4.xml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9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jpe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esentation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DT262- Execute Bots Rapidly in SAP S/4HANA Cloud with SAP Built Process Automation</a:t>
            </a:r>
            <a:endParaRPr lang="de-DE" dirty="0"/>
          </a:p>
        </p:txBody>
      </p:sp>
      <p:pic>
        <p:nvPicPr>
          <p:cNvPr id="7" name="Title image">
            <a:extLst>
              <a:ext uri="{FF2B5EF4-FFF2-40B4-BE49-F238E27FC236}">
                <a16:creationId xmlns:a16="http://schemas.microsoft.com/office/drawing/2014/main" id="{37CF1F63-6232-DC41-820F-A2E7C43C8C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/>
          <a:srcRect t="14828" b="46162"/>
          <a:stretch/>
        </p:blipFill>
        <p:spPr bwMode="black">
          <a:xfrm>
            <a:off x="0" y="-1"/>
            <a:ext cx="12195175" cy="34308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4524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D18BE3-30ED-4E6B-B2EF-9B3579F3B0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1" y="3372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D18BE3-30ED-4E6B-B2EF-9B3579F3B0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61" y="3372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Chevron 74">
            <a:extLst>
              <a:ext uri="{FF2B5EF4-FFF2-40B4-BE49-F238E27FC236}">
                <a16:creationId xmlns:a16="http://schemas.microsoft.com/office/drawing/2014/main" id="{663B9F4B-A09F-9F43-B783-CAA988FAEEFB}"/>
              </a:ext>
            </a:extLst>
          </p:cNvPr>
          <p:cNvSpPr/>
          <p:nvPr/>
        </p:nvSpPr>
        <p:spPr bwMode="gray">
          <a:xfrm>
            <a:off x="2316628" y="2289685"/>
            <a:ext cx="1361133" cy="389056"/>
          </a:xfrm>
          <a:prstGeom prst="chevron">
            <a:avLst>
              <a:gd name="adj" fmla="val 34164"/>
            </a:avLst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marL="0" marR="0" lvl="0" indent="0" algn="ctr" defTabSz="91303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Discover and understand</a:t>
            </a:r>
          </a:p>
        </p:txBody>
      </p:sp>
      <p:sp>
        <p:nvSpPr>
          <p:cNvPr id="157" name="Chevron 75">
            <a:extLst>
              <a:ext uri="{FF2B5EF4-FFF2-40B4-BE49-F238E27FC236}">
                <a16:creationId xmlns:a16="http://schemas.microsoft.com/office/drawing/2014/main" id="{C04E86C2-B867-9241-8217-796864E732C1}"/>
              </a:ext>
            </a:extLst>
          </p:cNvPr>
          <p:cNvSpPr/>
          <p:nvPr/>
        </p:nvSpPr>
        <p:spPr bwMode="gray">
          <a:xfrm>
            <a:off x="3640450" y="2285489"/>
            <a:ext cx="1502661" cy="389056"/>
          </a:xfrm>
          <a:prstGeom prst="chevron">
            <a:avLst>
              <a:gd name="adj" fmla="val 34164"/>
            </a:avLst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marL="0" marR="0" lvl="0" indent="0" algn="ctr" defTabSz="91303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  <a:t>Design and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  <a:t>simulate</a:t>
            </a:r>
          </a:p>
        </p:txBody>
      </p:sp>
      <p:sp>
        <p:nvSpPr>
          <p:cNvPr id="158" name="Chevron 76">
            <a:extLst>
              <a:ext uri="{FF2B5EF4-FFF2-40B4-BE49-F238E27FC236}">
                <a16:creationId xmlns:a16="http://schemas.microsoft.com/office/drawing/2014/main" id="{C2EE555A-AAE9-1241-A4DA-62A0620B6064}"/>
              </a:ext>
            </a:extLst>
          </p:cNvPr>
          <p:cNvSpPr/>
          <p:nvPr/>
        </p:nvSpPr>
        <p:spPr bwMode="gray">
          <a:xfrm>
            <a:off x="9083294" y="2282000"/>
            <a:ext cx="1565406" cy="388635"/>
          </a:xfrm>
          <a:prstGeom prst="chevron">
            <a:avLst>
              <a:gd name="adj" fmla="val 34164"/>
            </a:avLst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marL="0" marR="0" lvl="0" indent="0" algn="ctr" defTabSz="91303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Collaborate,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roll</a:t>
            </a:r>
            <a:r>
              <a:rPr kumimoji="0" lang="en-US" sz="800" b="0" i="0" u="none" strike="noStrike" kern="0" cap="none" spc="0" normalizeH="0" noProof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out, and govern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9" name="Chevron 158">
            <a:extLst>
              <a:ext uri="{FF2B5EF4-FFF2-40B4-BE49-F238E27FC236}">
                <a16:creationId xmlns:a16="http://schemas.microsoft.com/office/drawing/2014/main" id="{23F19440-98A2-B044-BD93-79925ECE0506}"/>
              </a:ext>
            </a:extLst>
          </p:cNvPr>
          <p:cNvSpPr/>
          <p:nvPr/>
        </p:nvSpPr>
        <p:spPr bwMode="gray">
          <a:xfrm>
            <a:off x="5198597" y="2285490"/>
            <a:ext cx="3884696" cy="388635"/>
          </a:xfrm>
          <a:prstGeom prst="chevron">
            <a:avLst>
              <a:gd name="adj" fmla="val 34164"/>
            </a:avLst>
          </a:prstGeom>
          <a:solidFill>
            <a:srgbClr val="008FD3"/>
          </a:solidFill>
          <a:ln w="25400" algn="ctr">
            <a:noFill/>
            <a:miter lim="800000"/>
            <a:headEnd/>
            <a:tailEnd/>
          </a:ln>
        </p:spPr>
        <p:txBody>
          <a:bodyPr lIns="89931" tIns="395897" rIns="89931" bIns="71943" rtlCol="0" anchor="b" anchorCtr="0"/>
          <a:lstStyle/>
          <a:p>
            <a:pPr marL="0" marR="0" lvl="0" indent="0" algn="ctr" defTabSz="91357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Improve</a:t>
            </a:r>
            <a:r>
              <a:rPr kumimoji="0" lang="en-US" sz="1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  <a:br>
              <a:rPr kumimoji="0" lang="en-US" sz="17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lang="en-US" sz="800" ker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SAP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cess Automation</a:t>
            </a:r>
          </a:p>
        </p:txBody>
      </p:sp>
      <p:sp>
        <p:nvSpPr>
          <p:cNvPr id="160" name="Chevron 78">
            <a:extLst>
              <a:ext uri="{FF2B5EF4-FFF2-40B4-BE49-F238E27FC236}">
                <a16:creationId xmlns:a16="http://schemas.microsoft.com/office/drawing/2014/main" id="{67B93B11-9CCE-D24A-8382-084A3DD40201}"/>
              </a:ext>
            </a:extLst>
          </p:cNvPr>
          <p:cNvSpPr/>
          <p:nvPr/>
        </p:nvSpPr>
        <p:spPr bwMode="gray">
          <a:xfrm>
            <a:off x="10581267" y="2281999"/>
            <a:ext cx="1330298" cy="376004"/>
          </a:xfrm>
          <a:prstGeom prst="chevron">
            <a:avLst>
              <a:gd name="adj" fmla="val 34164"/>
            </a:avLst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marL="0" marR="0" lvl="0" indent="0" algn="ctr" defTabSz="91303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Benchmark and monitor</a:t>
            </a:r>
            <a:endParaRPr kumimoji="0" lang="en-US" sz="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61" name="Picture 160">
            <a:extLst>
              <a:ext uri="{FF2B5EF4-FFF2-40B4-BE49-F238E27FC236}">
                <a16:creationId xmlns:a16="http://schemas.microsoft.com/office/drawing/2014/main" id="{C4D8D628-1B72-AD47-8EAB-92FD7C43C99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7521" y="3276662"/>
            <a:ext cx="1220478" cy="779750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B6DA26F8-6D76-EE4E-8807-D328DD1AF67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7358" y="3276661"/>
            <a:ext cx="1220477" cy="779750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F44CC3D5-9A5C-D844-8C4B-5C5BCE3A27A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3631477" y="3338599"/>
            <a:ext cx="1488546" cy="664907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4" name="Picture 163">
            <a:extLst>
              <a:ext uri="{FF2B5EF4-FFF2-40B4-BE49-F238E27FC236}">
                <a16:creationId xmlns:a16="http://schemas.microsoft.com/office/drawing/2014/main" id="{E09E79B8-C912-F74A-A879-13CD3268A4E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4827" y="2853826"/>
            <a:ext cx="1650304" cy="1053509"/>
          </a:xfrm>
          <a:prstGeom prst="rect">
            <a:avLst/>
          </a:prstGeom>
          <a:effectLst>
            <a:glow rad="101600">
              <a:schemeClr val="accent3">
                <a:lumMod val="75000"/>
                <a:alpha val="40000"/>
              </a:schemeClr>
            </a:glow>
          </a:effectLst>
        </p:spPr>
      </p:pic>
      <p:pic>
        <p:nvPicPr>
          <p:cNvPr id="165" name="Picture 164">
            <a:extLst>
              <a:ext uri="{FF2B5EF4-FFF2-40B4-BE49-F238E27FC236}">
                <a16:creationId xmlns:a16="http://schemas.microsoft.com/office/drawing/2014/main" id="{4361FB11-AE35-3640-B24E-E5312249158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918" y="2862362"/>
            <a:ext cx="1690878" cy="1009133"/>
          </a:xfrm>
          <a:prstGeom prst="rect">
            <a:avLst/>
          </a:prstGeom>
          <a:effectLst>
            <a:glow rad="101600">
              <a:schemeClr val="accent3">
                <a:lumMod val="75000"/>
                <a:alpha val="40000"/>
              </a:schemeClr>
            </a:glow>
          </a:effectLst>
        </p:spPr>
      </p:pic>
      <p:pic>
        <p:nvPicPr>
          <p:cNvPr id="166" name="Picture 165">
            <a:extLst>
              <a:ext uri="{FF2B5EF4-FFF2-40B4-BE49-F238E27FC236}">
                <a16:creationId xmlns:a16="http://schemas.microsoft.com/office/drawing/2014/main" id="{054F512B-D028-FF4D-9C2F-8CD937088D7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7492" y="3420695"/>
            <a:ext cx="1784602" cy="1052345"/>
          </a:xfrm>
          <a:prstGeom prst="rect">
            <a:avLst/>
          </a:prstGeom>
          <a:effectLst>
            <a:glow rad="101600">
              <a:schemeClr val="accent3">
                <a:lumMod val="75000"/>
                <a:alpha val="40000"/>
              </a:schemeClr>
            </a:glow>
          </a:effectLst>
        </p:spPr>
      </p:pic>
      <p:sp>
        <p:nvSpPr>
          <p:cNvPr id="173" name="Rectangle 172">
            <a:extLst>
              <a:ext uri="{FF2B5EF4-FFF2-40B4-BE49-F238E27FC236}">
                <a16:creationId xmlns:a16="http://schemas.microsoft.com/office/drawing/2014/main" id="{BBE64FF6-430E-D047-839F-69AC658C9946}"/>
              </a:ext>
            </a:extLst>
          </p:cNvPr>
          <p:cNvSpPr/>
          <p:nvPr/>
        </p:nvSpPr>
        <p:spPr bwMode="gray">
          <a:xfrm>
            <a:off x="5972760" y="4564336"/>
            <a:ext cx="2240707" cy="40231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marL="0" marR="0" lvl="0" indent="0" algn="ctr" defTabSz="91303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Cross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-</a:t>
            </a:r>
            <a:r>
              <a:rPr kumimoji="0" lang="en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LoB workflow</a:t>
            </a:r>
            <a:br>
              <a:rPr kumimoji="0" lang="en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</a:br>
            <a:r>
              <a:rPr kumimoji="0" lang="en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Process automation</a:t>
            </a:r>
            <a:br>
              <a:rPr kumimoji="0" lang="en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</a:br>
            <a:r>
              <a:rPr kumimoji="0" lang="en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" panose="020B0604020202020204" pitchFamily="34" charset="0"/>
              </a:rPr>
              <a:t>Application extensions</a:t>
            </a:r>
          </a:p>
        </p:txBody>
      </p:sp>
      <p:pic>
        <p:nvPicPr>
          <p:cNvPr id="261" name="Picture 260">
            <a:extLst>
              <a:ext uri="{FF2B5EF4-FFF2-40B4-BE49-F238E27FC236}">
                <a16:creationId xmlns:a16="http://schemas.microsoft.com/office/drawing/2014/main" id="{ED74BBAD-6BA7-9F43-861E-FBEB5E64FDD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3950" y="2759370"/>
            <a:ext cx="1197617" cy="765145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2" name="Picture 261">
            <a:extLst>
              <a:ext uri="{FF2B5EF4-FFF2-40B4-BE49-F238E27FC236}">
                <a16:creationId xmlns:a16="http://schemas.microsoft.com/office/drawing/2014/main" id="{B5FCF80C-CFA6-3442-8040-64C172872321}"/>
              </a:ext>
            </a:extLst>
          </p:cNvPr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0937" y="2853825"/>
            <a:ext cx="1390984" cy="881055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3" name="Picture 262">
            <a:extLst>
              <a:ext uri="{FF2B5EF4-FFF2-40B4-BE49-F238E27FC236}">
                <a16:creationId xmlns:a16="http://schemas.microsoft.com/office/drawing/2014/main" id="{C7979FDC-EB88-394A-8BB6-E2AEA77F7326}"/>
              </a:ext>
            </a:extLst>
          </p:cNvPr>
          <p:cNvPicPr>
            <a:picLocks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0681" y="2853824"/>
            <a:ext cx="1290365" cy="881056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4" name="Picture 4">
            <a:extLst>
              <a:ext uri="{FF2B5EF4-FFF2-40B4-BE49-F238E27FC236}">
                <a16:creationId xmlns:a16="http://schemas.microsoft.com/office/drawing/2014/main" id="{013BCEAA-4985-A54F-A7CA-4687369E4F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82090" y="3284237"/>
            <a:ext cx="1009832" cy="374807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  <a:effectLst>
            <a:outerShdw blurRad="38100" dist="127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6" name="Rectangle 265">
            <a:extLst>
              <a:ext uri="{FF2B5EF4-FFF2-40B4-BE49-F238E27FC236}">
                <a16:creationId xmlns:a16="http://schemas.microsoft.com/office/drawing/2014/main" id="{FA61C9CA-C1CA-D242-8A25-086EBBE74E13}"/>
              </a:ext>
            </a:extLst>
          </p:cNvPr>
          <p:cNvSpPr/>
          <p:nvPr/>
        </p:nvSpPr>
        <p:spPr bwMode="gray">
          <a:xfrm>
            <a:off x="809246" y="3660085"/>
            <a:ext cx="1690878" cy="48197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54" tIns="71962" rIns="89954" bIns="71962" rtlCol="0" anchor="ctr"/>
          <a:lstStyle/>
          <a:p>
            <a:pPr marL="0" marR="0" lvl="0" indent="0" algn="ctr" defTabSz="9138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1" name="Rectangle 124">
            <a:extLst>
              <a:ext uri="{FF2B5EF4-FFF2-40B4-BE49-F238E27FC236}">
                <a16:creationId xmlns:a16="http://schemas.microsoft.com/office/drawing/2014/main" id="{15435267-4608-6B4D-B6D2-F701C140B37F}"/>
              </a:ext>
            </a:extLst>
          </p:cNvPr>
          <p:cNvSpPr/>
          <p:nvPr/>
        </p:nvSpPr>
        <p:spPr>
          <a:xfrm>
            <a:off x="5988828" y="2428336"/>
            <a:ext cx="106868" cy="106868"/>
          </a:xfrm>
          <a:prstGeom prst="rect">
            <a:avLst/>
          </a:prstGeom>
          <a:gradFill>
            <a:gsLst>
              <a:gs pos="51000">
                <a:schemeClr val="bg1">
                  <a:alpha val="15000"/>
                </a:schemeClr>
              </a:gs>
              <a:gs pos="9000">
                <a:schemeClr val="bg1">
                  <a:alpha val="10000"/>
                </a:schemeClr>
              </a:gs>
            </a:gsLst>
            <a:lin ang="5400000" scaled="0"/>
          </a:gradFill>
          <a:ln w="25400" algn="ctr">
            <a:noFill/>
            <a:miter lim="800000"/>
            <a:headEnd/>
            <a:tailEnd/>
          </a:ln>
          <a:effectLst>
            <a:glow rad="177800">
              <a:schemeClr val="bg1">
                <a:alpha val="0"/>
              </a:schemeClr>
            </a:glow>
            <a:outerShdw dist="50800" sx="1000" sy="1000" algn="ctr" rotWithShape="0">
              <a:schemeClr val="bg1"/>
            </a:outerShdw>
            <a:reflection endPos="0" dist="50800" dir="5400000" sy="-100000" algn="bl" rotWithShape="0"/>
          </a:effectLst>
        </p:spPr>
        <p:txBody>
          <a:bodyPr lIns="89931" tIns="71943" rIns="89931" bIns="71943" rtlCol="0" anchor="ctr"/>
          <a:lstStyle/>
          <a:p>
            <a:pPr marL="0" marR="0" lvl="0" indent="0" algn="ctr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79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2" name="Rectangle 125">
            <a:extLst>
              <a:ext uri="{FF2B5EF4-FFF2-40B4-BE49-F238E27FC236}">
                <a16:creationId xmlns:a16="http://schemas.microsoft.com/office/drawing/2014/main" id="{D21C63E5-0E53-4E46-A953-D9A8A963336B}"/>
              </a:ext>
            </a:extLst>
          </p:cNvPr>
          <p:cNvSpPr/>
          <p:nvPr/>
        </p:nvSpPr>
        <p:spPr>
          <a:xfrm>
            <a:off x="6120485" y="2428336"/>
            <a:ext cx="106868" cy="106868"/>
          </a:xfrm>
          <a:prstGeom prst="rect">
            <a:avLst/>
          </a:prstGeom>
          <a:gradFill>
            <a:gsLst>
              <a:gs pos="51000">
                <a:schemeClr val="bg1">
                  <a:alpha val="15000"/>
                </a:schemeClr>
              </a:gs>
              <a:gs pos="9000">
                <a:schemeClr val="bg1">
                  <a:alpha val="10000"/>
                </a:schemeClr>
              </a:gs>
            </a:gsLst>
            <a:lin ang="5400000" scaled="0"/>
          </a:gradFill>
          <a:ln w="25400" algn="ctr">
            <a:noFill/>
            <a:miter lim="800000"/>
            <a:headEnd/>
            <a:tailEnd/>
          </a:ln>
          <a:effectLst>
            <a:glow rad="177800">
              <a:schemeClr val="bg1">
                <a:alpha val="0"/>
              </a:schemeClr>
            </a:glow>
            <a:outerShdw dist="50800" sx="1000" sy="1000" algn="ctr" rotWithShape="0">
              <a:schemeClr val="bg1"/>
            </a:outerShdw>
            <a:reflection endPos="0" dist="50800" dir="5400000" sy="-100000" algn="bl" rotWithShape="0"/>
          </a:effectLst>
        </p:spPr>
        <p:txBody>
          <a:bodyPr lIns="89931" tIns="71943" rIns="89931" bIns="71943" rtlCol="0" anchor="ctr"/>
          <a:lstStyle/>
          <a:p>
            <a:pPr marL="0" marR="0" lvl="0" indent="0" algn="ctr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79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3" name="Rectangle 126">
            <a:extLst>
              <a:ext uri="{FF2B5EF4-FFF2-40B4-BE49-F238E27FC236}">
                <a16:creationId xmlns:a16="http://schemas.microsoft.com/office/drawing/2014/main" id="{C3EF3EC5-0481-734E-844C-8051BD9804EE}"/>
              </a:ext>
            </a:extLst>
          </p:cNvPr>
          <p:cNvSpPr/>
          <p:nvPr/>
        </p:nvSpPr>
        <p:spPr>
          <a:xfrm>
            <a:off x="6252142" y="2428336"/>
            <a:ext cx="106868" cy="106868"/>
          </a:xfrm>
          <a:prstGeom prst="rect">
            <a:avLst/>
          </a:prstGeom>
          <a:gradFill>
            <a:gsLst>
              <a:gs pos="51000">
                <a:schemeClr val="bg1">
                  <a:alpha val="15000"/>
                </a:schemeClr>
              </a:gs>
              <a:gs pos="9000">
                <a:schemeClr val="bg1">
                  <a:alpha val="10000"/>
                </a:schemeClr>
              </a:gs>
            </a:gsLst>
            <a:lin ang="5400000" scaled="0"/>
          </a:gradFill>
          <a:ln w="25400" algn="ctr">
            <a:noFill/>
            <a:miter lim="800000"/>
            <a:headEnd/>
            <a:tailEnd/>
          </a:ln>
          <a:effectLst>
            <a:glow rad="177800">
              <a:schemeClr val="bg1">
                <a:alpha val="0"/>
              </a:schemeClr>
            </a:glow>
            <a:outerShdw dist="50800" sx="1000" sy="1000" algn="ctr" rotWithShape="0">
              <a:schemeClr val="bg1"/>
            </a:outerShdw>
            <a:reflection endPos="0" dist="50800" dir="5400000" sy="-100000" algn="bl" rotWithShape="0"/>
          </a:effectLst>
        </p:spPr>
        <p:txBody>
          <a:bodyPr lIns="89931" tIns="71943" rIns="89931" bIns="71943" rtlCol="0" anchor="ctr"/>
          <a:lstStyle/>
          <a:p>
            <a:pPr marL="0" marR="0" lvl="0" indent="0" algn="ctr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79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4" name="Rectangle 113">
            <a:extLst>
              <a:ext uri="{FF2B5EF4-FFF2-40B4-BE49-F238E27FC236}">
                <a16:creationId xmlns:a16="http://schemas.microsoft.com/office/drawing/2014/main" id="{AEE7E096-D467-9B4F-A49E-A628F143B20C}"/>
              </a:ext>
            </a:extLst>
          </p:cNvPr>
          <p:cNvSpPr/>
          <p:nvPr/>
        </p:nvSpPr>
        <p:spPr>
          <a:xfrm>
            <a:off x="8103761" y="2428336"/>
            <a:ext cx="106868" cy="106868"/>
          </a:xfrm>
          <a:prstGeom prst="rect">
            <a:avLst/>
          </a:prstGeom>
          <a:gradFill>
            <a:gsLst>
              <a:gs pos="51000">
                <a:schemeClr val="bg1">
                  <a:alpha val="15000"/>
                </a:schemeClr>
              </a:gs>
              <a:gs pos="9000">
                <a:schemeClr val="bg1">
                  <a:alpha val="10000"/>
                </a:schemeClr>
              </a:gs>
            </a:gsLst>
            <a:lin ang="5400000" scaled="0"/>
          </a:gradFill>
          <a:ln w="25400" algn="ctr">
            <a:noFill/>
            <a:miter lim="800000"/>
            <a:headEnd/>
            <a:tailEnd/>
          </a:ln>
          <a:effectLst>
            <a:glow rad="177800">
              <a:schemeClr val="bg1">
                <a:alpha val="0"/>
              </a:schemeClr>
            </a:glow>
            <a:outerShdw dist="50800" sx="1000" sy="1000" algn="ctr" rotWithShape="0">
              <a:schemeClr val="bg1"/>
            </a:outerShdw>
            <a:reflection endPos="0" dist="50800" dir="5400000" sy="-100000" algn="bl" rotWithShape="0"/>
          </a:effectLst>
        </p:spPr>
        <p:txBody>
          <a:bodyPr lIns="89931" tIns="71943" rIns="89931" bIns="71943" rtlCol="0" anchor="ctr"/>
          <a:lstStyle/>
          <a:p>
            <a:pPr marL="0" marR="0" lvl="0" indent="0" algn="ctr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79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5" name="Rectangle 118">
            <a:extLst>
              <a:ext uri="{FF2B5EF4-FFF2-40B4-BE49-F238E27FC236}">
                <a16:creationId xmlns:a16="http://schemas.microsoft.com/office/drawing/2014/main" id="{A669D980-E41E-954B-936F-3D773305F9FD}"/>
              </a:ext>
            </a:extLst>
          </p:cNvPr>
          <p:cNvSpPr/>
          <p:nvPr/>
        </p:nvSpPr>
        <p:spPr>
          <a:xfrm>
            <a:off x="7840448" y="2428336"/>
            <a:ext cx="106868" cy="106868"/>
          </a:xfrm>
          <a:prstGeom prst="rect">
            <a:avLst/>
          </a:prstGeom>
          <a:gradFill>
            <a:gsLst>
              <a:gs pos="51000">
                <a:schemeClr val="bg1">
                  <a:alpha val="15000"/>
                </a:schemeClr>
              </a:gs>
              <a:gs pos="9000">
                <a:schemeClr val="bg1">
                  <a:alpha val="10000"/>
                </a:schemeClr>
              </a:gs>
            </a:gsLst>
            <a:lin ang="5400000" scaled="0"/>
          </a:gradFill>
          <a:ln w="25400" algn="ctr">
            <a:noFill/>
            <a:miter lim="800000"/>
            <a:headEnd/>
            <a:tailEnd/>
          </a:ln>
          <a:effectLst>
            <a:glow rad="177800">
              <a:schemeClr val="bg1">
                <a:alpha val="0"/>
              </a:schemeClr>
            </a:glow>
            <a:outerShdw dist="50800" sx="1000" sy="1000" algn="ctr" rotWithShape="0">
              <a:schemeClr val="bg1"/>
            </a:outerShdw>
            <a:reflection endPos="0" dist="50800" dir="5400000" sy="-100000" algn="bl" rotWithShape="0"/>
          </a:effectLst>
        </p:spPr>
        <p:txBody>
          <a:bodyPr lIns="89931" tIns="71943" rIns="89931" bIns="71943" rtlCol="0" anchor="ctr"/>
          <a:lstStyle/>
          <a:p>
            <a:pPr marL="0" marR="0" lvl="0" indent="0" algn="ctr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79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6" name="Rectangle 119">
            <a:extLst>
              <a:ext uri="{FF2B5EF4-FFF2-40B4-BE49-F238E27FC236}">
                <a16:creationId xmlns:a16="http://schemas.microsoft.com/office/drawing/2014/main" id="{4A700D82-5617-1844-B846-1C08CAF70A15}"/>
              </a:ext>
            </a:extLst>
          </p:cNvPr>
          <p:cNvSpPr/>
          <p:nvPr/>
        </p:nvSpPr>
        <p:spPr>
          <a:xfrm>
            <a:off x="7972105" y="2428336"/>
            <a:ext cx="106868" cy="106868"/>
          </a:xfrm>
          <a:prstGeom prst="rect">
            <a:avLst/>
          </a:prstGeom>
          <a:gradFill>
            <a:gsLst>
              <a:gs pos="51000">
                <a:schemeClr val="bg1">
                  <a:alpha val="15000"/>
                </a:schemeClr>
              </a:gs>
              <a:gs pos="9000">
                <a:schemeClr val="bg1">
                  <a:alpha val="10000"/>
                </a:schemeClr>
              </a:gs>
            </a:gsLst>
            <a:lin ang="5400000" scaled="0"/>
          </a:gradFill>
          <a:ln w="25400" algn="ctr">
            <a:noFill/>
            <a:miter lim="800000"/>
            <a:headEnd/>
            <a:tailEnd/>
          </a:ln>
          <a:effectLst>
            <a:glow rad="177800">
              <a:schemeClr val="bg1">
                <a:alpha val="0"/>
              </a:schemeClr>
            </a:glow>
            <a:outerShdw dist="50800" sx="1000" sy="1000" algn="ctr" rotWithShape="0">
              <a:schemeClr val="bg1"/>
            </a:outerShdw>
            <a:reflection endPos="0" dist="50800" dir="5400000" sy="-100000" algn="bl" rotWithShape="0"/>
          </a:effectLst>
        </p:spPr>
        <p:txBody>
          <a:bodyPr lIns="89931" tIns="71943" rIns="89931" bIns="71943" rtlCol="0" anchor="ctr"/>
          <a:lstStyle/>
          <a:p>
            <a:pPr marL="0" marR="0" lvl="0" indent="0" algn="ctr" defTabSz="91357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79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5" name="Pentagon 73">
            <a:extLst>
              <a:ext uri="{FF2B5EF4-FFF2-40B4-BE49-F238E27FC236}">
                <a16:creationId xmlns:a16="http://schemas.microsoft.com/office/drawing/2014/main" id="{1F7FEDC7-0E88-0E49-BD80-04B990DF3EA2}"/>
              </a:ext>
            </a:extLst>
          </p:cNvPr>
          <p:cNvSpPr/>
          <p:nvPr/>
        </p:nvSpPr>
        <p:spPr bwMode="gray">
          <a:xfrm>
            <a:off x="1306652" y="2289943"/>
            <a:ext cx="1044303" cy="388634"/>
          </a:xfrm>
          <a:prstGeom prst="homePlate">
            <a:avLst>
              <a:gd name="adj" fmla="val 33465"/>
            </a:avLst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885" tIns="71905" rIns="89885" bIns="71905" rtlCol="0" anchor="ctr"/>
          <a:lstStyle/>
          <a:p>
            <a:pPr marL="0" marR="0" lvl="0" indent="0" algn="ctr" defTabSz="91303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  <a:t>Model and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  <a:t>manag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80838A2-1970-1442-BBCA-871DB8C2A50A}"/>
              </a:ext>
            </a:extLst>
          </p:cNvPr>
          <p:cNvGrpSpPr/>
          <p:nvPr/>
        </p:nvGrpSpPr>
        <p:grpSpPr>
          <a:xfrm>
            <a:off x="3295268" y="5077862"/>
            <a:ext cx="7181393" cy="325552"/>
            <a:chOff x="2357978" y="3894766"/>
            <a:chExt cx="7975959" cy="504482"/>
          </a:xfrm>
        </p:grpSpPr>
        <p:grpSp>
          <p:nvGrpSpPr>
            <p:cNvPr id="48" name="Gruppieren 157">
              <a:extLst>
                <a:ext uri="{FF2B5EF4-FFF2-40B4-BE49-F238E27FC236}">
                  <a16:creationId xmlns:a16="http://schemas.microsoft.com/office/drawing/2014/main" id="{FEE49726-D028-3A47-929E-AA090F7A9CD8}"/>
                </a:ext>
              </a:extLst>
            </p:cNvPr>
            <p:cNvGrpSpPr/>
            <p:nvPr/>
          </p:nvGrpSpPr>
          <p:grpSpPr>
            <a:xfrm>
              <a:off x="2357978" y="4004647"/>
              <a:ext cx="7349871" cy="241178"/>
              <a:chOff x="2819463" y="5047197"/>
              <a:chExt cx="7351792" cy="241241"/>
            </a:xfrm>
          </p:grpSpPr>
          <p:sp>
            <p:nvSpPr>
              <p:cNvPr id="52" name="Rectangle 148">
                <a:extLst>
                  <a:ext uri="{FF2B5EF4-FFF2-40B4-BE49-F238E27FC236}">
                    <a16:creationId xmlns:a16="http://schemas.microsoft.com/office/drawing/2014/main" id="{AC684CA3-AE89-2B42-9D9A-A980B657E537}"/>
                  </a:ext>
                </a:extLst>
              </p:cNvPr>
              <p:cNvSpPr/>
              <p:nvPr/>
            </p:nvSpPr>
            <p:spPr>
              <a:xfrm>
                <a:off x="347808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3" name="Rectangle 149">
                <a:extLst>
                  <a:ext uri="{FF2B5EF4-FFF2-40B4-BE49-F238E27FC236}">
                    <a16:creationId xmlns:a16="http://schemas.microsoft.com/office/drawing/2014/main" id="{99DFB1E4-AA0B-A447-8FBF-8D6A2E81B5BC}"/>
                  </a:ext>
                </a:extLst>
              </p:cNvPr>
              <p:cNvSpPr/>
              <p:nvPr/>
            </p:nvSpPr>
            <p:spPr>
              <a:xfrm>
                <a:off x="281946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4" name="Rectangle 150">
                <a:extLst>
                  <a:ext uri="{FF2B5EF4-FFF2-40B4-BE49-F238E27FC236}">
                    <a16:creationId xmlns:a16="http://schemas.microsoft.com/office/drawing/2014/main" id="{E82BD348-61B8-F341-94EB-8D628A65D7D0}"/>
                  </a:ext>
                </a:extLst>
              </p:cNvPr>
              <p:cNvSpPr/>
              <p:nvPr/>
            </p:nvSpPr>
            <p:spPr>
              <a:xfrm>
                <a:off x="295118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5" name="Rectangle 151">
                <a:extLst>
                  <a:ext uri="{FF2B5EF4-FFF2-40B4-BE49-F238E27FC236}">
                    <a16:creationId xmlns:a16="http://schemas.microsoft.com/office/drawing/2014/main" id="{5686E4F9-8E1C-F446-84F6-F2D2EBCE8891}"/>
                  </a:ext>
                </a:extLst>
              </p:cNvPr>
              <p:cNvSpPr/>
              <p:nvPr/>
            </p:nvSpPr>
            <p:spPr>
              <a:xfrm>
                <a:off x="308291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6" name="Rectangle 152">
                <a:extLst>
                  <a:ext uri="{FF2B5EF4-FFF2-40B4-BE49-F238E27FC236}">
                    <a16:creationId xmlns:a16="http://schemas.microsoft.com/office/drawing/2014/main" id="{219F5CFB-1580-054E-AC17-B84F7516A354}"/>
                  </a:ext>
                </a:extLst>
              </p:cNvPr>
              <p:cNvSpPr/>
              <p:nvPr/>
            </p:nvSpPr>
            <p:spPr>
              <a:xfrm>
                <a:off x="321463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7" name="Rectangle 153">
                <a:extLst>
                  <a:ext uri="{FF2B5EF4-FFF2-40B4-BE49-F238E27FC236}">
                    <a16:creationId xmlns:a16="http://schemas.microsoft.com/office/drawing/2014/main" id="{CB6A43F7-6A4D-C045-B24A-4D6A4536C23F}"/>
                  </a:ext>
                </a:extLst>
              </p:cNvPr>
              <p:cNvSpPr/>
              <p:nvPr/>
            </p:nvSpPr>
            <p:spPr>
              <a:xfrm>
                <a:off x="334636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8" name="Rectangle 141">
                <a:extLst>
                  <a:ext uri="{FF2B5EF4-FFF2-40B4-BE49-F238E27FC236}">
                    <a16:creationId xmlns:a16="http://schemas.microsoft.com/office/drawing/2014/main" id="{A1BF45A9-1323-EA4D-9B5D-801D365D3290}"/>
                  </a:ext>
                </a:extLst>
              </p:cNvPr>
              <p:cNvSpPr/>
              <p:nvPr/>
            </p:nvSpPr>
            <p:spPr>
              <a:xfrm>
                <a:off x="44001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9" name="Rectangle 142">
                <a:extLst>
                  <a:ext uri="{FF2B5EF4-FFF2-40B4-BE49-F238E27FC236}">
                    <a16:creationId xmlns:a16="http://schemas.microsoft.com/office/drawing/2014/main" id="{A316440F-A8B0-5249-BE87-338274B18452}"/>
                  </a:ext>
                </a:extLst>
              </p:cNvPr>
              <p:cNvSpPr/>
              <p:nvPr/>
            </p:nvSpPr>
            <p:spPr>
              <a:xfrm>
                <a:off x="360981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0" name="Rectangle 143">
                <a:extLst>
                  <a:ext uri="{FF2B5EF4-FFF2-40B4-BE49-F238E27FC236}">
                    <a16:creationId xmlns:a16="http://schemas.microsoft.com/office/drawing/2014/main" id="{C1F26223-D7A3-2543-A730-559B44A5BD2B}"/>
                  </a:ext>
                </a:extLst>
              </p:cNvPr>
              <p:cNvSpPr/>
              <p:nvPr/>
            </p:nvSpPr>
            <p:spPr>
              <a:xfrm>
                <a:off x="374153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1" name="Rectangle 144">
                <a:extLst>
                  <a:ext uri="{FF2B5EF4-FFF2-40B4-BE49-F238E27FC236}">
                    <a16:creationId xmlns:a16="http://schemas.microsoft.com/office/drawing/2014/main" id="{63E48BE3-5F1E-4B40-BE3D-943093A287D2}"/>
                  </a:ext>
                </a:extLst>
              </p:cNvPr>
              <p:cNvSpPr/>
              <p:nvPr/>
            </p:nvSpPr>
            <p:spPr>
              <a:xfrm>
                <a:off x="387326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2" name="Rectangle 145">
                <a:extLst>
                  <a:ext uri="{FF2B5EF4-FFF2-40B4-BE49-F238E27FC236}">
                    <a16:creationId xmlns:a16="http://schemas.microsoft.com/office/drawing/2014/main" id="{2504EABA-AAB1-414A-B187-E3D96A94DC4D}"/>
                  </a:ext>
                </a:extLst>
              </p:cNvPr>
              <p:cNvSpPr/>
              <p:nvPr/>
            </p:nvSpPr>
            <p:spPr>
              <a:xfrm>
                <a:off x="400498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3" name="Rectangle 146">
                <a:extLst>
                  <a:ext uri="{FF2B5EF4-FFF2-40B4-BE49-F238E27FC236}">
                    <a16:creationId xmlns:a16="http://schemas.microsoft.com/office/drawing/2014/main" id="{61C6D9B8-A9F0-014E-BCCE-DBE2527872B3}"/>
                  </a:ext>
                </a:extLst>
              </p:cNvPr>
              <p:cNvSpPr/>
              <p:nvPr/>
            </p:nvSpPr>
            <p:spPr>
              <a:xfrm>
                <a:off x="413671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4" name="Rectangle 147">
                <a:extLst>
                  <a:ext uri="{FF2B5EF4-FFF2-40B4-BE49-F238E27FC236}">
                    <a16:creationId xmlns:a16="http://schemas.microsoft.com/office/drawing/2014/main" id="{C4EC5E8B-59DF-6B4F-8A75-6A42C33CFB9D}"/>
                  </a:ext>
                </a:extLst>
              </p:cNvPr>
              <p:cNvSpPr/>
              <p:nvPr/>
            </p:nvSpPr>
            <p:spPr>
              <a:xfrm>
                <a:off x="42684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5" name="Rectangle 133">
                <a:extLst>
                  <a:ext uri="{FF2B5EF4-FFF2-40B4-BE49-F238E27FC236}">
                    <a16:creationId xmlns:a16="http://schemas.microsoft.com/office/drawing/2014/main" id="{2D64CD6E-788A-6745-9491-AC05EE8B1010}"/>
                  </a:ext>
                </a:extLst>
              </p:cNvPr>
              <p:cNvSpPr/>
              <p:nvPr/>
            </p:nvSpPr>
            <p:spPr>
              <a:xfrm>
                <a:off x="387326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6" name="Rectangle 134">
                <a:extLst>
                  <a:ext uri="{FF2B5EF4-FFF2-40B4-BE49-F238E27FC236}">
                    <a16:creationId xmlns:a16="http://schemas.microsoft.com/office/drawing/2014/main" id="{930A8501-2818-6C40-8004-3C10D02C7632}"/>
                  </a:ext>
                </a:extLst>
              </p:cNvPr>
              <p:cNvSpPr/>
              <p:nvPr/>
            </p:nvSpPr>
            <p:spPr>
              <a:xfrm>
                <a:off x="308291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7" name="Rectangle 135">
                <a:extLst>
                  <a:ext uri="{FF2B5EF4-FFF2-40B4-BE49-F238E27FC236}">
                    <a16:creationId xmlns:a16="http://schemas.microsoft.com/office/drawing/2014/main" id="{EA4677CB-9F95-514C-8146-9DA0B03B7C56}"/>
                  </a:ext>
                </a:extLst>
              </p:cNvPr>
              <p:cNvSpPr/>
              <p:nvPr/>
            </p:nvSpPr>
            <p:spPr>
              <a:xfrm>
                <a:off x="321463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8" name="Rectangle 136">
                <a:extLst>
                  <a:ext uri="{FF2B5EF4-FFF2-40B4-BE49-F238E27FC236}">
                    <a16:creationId xmlns:a16="http://schemas.microsoft.com/office/drawing/2014/main" id="{48D4C567-89D5-C644-9798-7777AADF7D68}"/>
                  </a:ext>
                </a:extLst>
              </p:cNvPr>
              <p:cNvSpPr/>
              <p:nvPr/>
            </p:nvSpPr>
            <p:spPr>
              <a:xfrm>
                <a:off x="334636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9" name="Rectangle 137">
                <a:extLst>
                  <a:ext uri="{FF2B5EF4-FFF2-40B4-BE49-F238E27FC236}">
                    <a16:creationId xmlns:a16="http://schemas.microsoft.com/office/drawing/2014/main" id="{4BD02B27-7E18-234E-A012-7DC16330E5BB}"/>
                  </a:ext>
                </a:extLst>
              </p:cNvPr>
              <p:cNvSpPr/>
              <p:nvPr/>
            </p:nvSpPr>
            <p:spPr>
              <a:xfrm>
                <a:off x="347808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0" name="Rectangle 139">
                <a:extLst>
                  <a:ext uri="{FF2B5EF4-FFF2-40B4-BE49-F238E27FC236}">
                    <a16:creationId xmlns:a16="http://schemas.microsoft.com/office/drawing/2014/main" id="{70409A58-FCBF-7E4A-A1FE-5B8E024384E2}"/>
                  </a:ext>
                </a:extLst>
              </p:cNvPr>
              <p:cNvSpPr/>
              <p:nvPr/>
            </p:nvSpPr>
            <p:spPr>
              <a:xfrm>
                <a:off x="360981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1" name="Rectangle 140">
                <a:extLst>
                  <a:ext uri="{FF2B5EF4-FFF2-40B4-BE49-F238E27FC236}">
                    <a16:creationId xmlns:a16="http://schemas.microsoft.com/office/drawing/2014/main" id="{446C1AE3-0E28-1A47-8AFA-B0DB57FA96BE}"/>
                  </a:ext>
                </a:extLst>
              </p:cNvPr>
              <p:cNvSpPr/>
              <p:nvPr/>
            </p:nvSpPr>
            <p:spPr>
              <a:xfrm>
                <a:off x="374153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7" name="Rectangle 127">
                <a:extLst>
                  <a:ext uri="{FF2B5EF4-FFF2-40B4-BE49-F238E27FC236}">
                    <a16:creationId xmlns:a16="http://schemas.microsoft.com/office/drawing/2014/main" id="{39F5BA7B-DB60-864A-9549-E05DE057BDAB}"/>
                  </a:ext>
                </a:extLst>
              </p:cNvPr>
              <p:cNvSpPr/>
              <p:nvPr/>
            </p:nvSpPr>
            <p:spPr>
              <a:xfrm>
                <a:off x="400498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1" name="Rectangle 128">
                <a:extLst>
                  <a:ext uri="{FF2B5EF4-FFF2-40B4-BE49-F238E27FC236}">
                    <a16:creationId xmlns:a16="http://schemas.microsoft.com/office/drawing/2014/main" id="{461A24E3-DDF4-844B-A57E-631E725DF0F7}"/>
                  </a:ext>
                </a:extLst>
              </p:cNvPr>
              <p:cNvSpPr/>
              <p:nvPr/>
            </p:nvSpPr>
            <p:spPr>
              <a:xfrm>
                <a:off x="413671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2" name="Rectangle 55">
                <a:extLst>
                  <a:ext uri="{FF2B5EF4-FFF2-40B4-BE49-F238E27FC236}">
                    <a16:creationId xmlns:a16="http://schemas.microsoft.com/office/drawing/2014/main" id="{DA931745-7849-3D40-88A7-C5B52C21A659}"/>
                  </a:ext>
                </a:extLst>
              </p:cNvPr>
              <p:cNvSpPr/>
              <p:nvPr/>
            </p:nvSpPr>
            <p:spPr>
              <a:xfrm>
                <a:off x="295118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3" name="Rectangle 120">
                <a:extLst>
                  <a:ext uri="{FF2B5EF4-FFF2-40B4-BE49-F238E27FC236}">
                    <a16:creationId xmlns:a16="http://schemas.microsoft.com/office/drawing/2014/main" id="{E67669D8-A1D7-DB47-91F2-6119F7DEE5F3}"/>
                  </a:ext>
                </a:extLst>
              </p:cNvPr>
              <p:cNvSpPr/>
              <p:nvPr/>
            </p:nvSpPr>
            <p:spPr>
              <a:xfrm>
                <a:off x="53222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4" name="Rectangle 121">
                <a:extLst>
                  <a:ext uri="{FF2B5EF4-FFF2-40B4-BE49-F238E27FC236}">
                    <a16:creationId xmlns:a16="http://schemas.microsoft.com/office/drawing/2014/main" id="{7B1C22A7-160D-0943-98C0-D464369F9C8D}"/>
                  </a:ext>
                </a:extLst>
              </p:cNvPr>
              <p:cNvSpPr/>
              <p:nvPr/>
            </p:nvSpPr>
            <p:spPr>
              <a:xfrm>
                <a:off x="45318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5" name="Rectangle 122">
                <a:extLst>
                  <a:ext uri="{FF2B5EF4-FFF2-40B4-BE49-F238E27FC236}">
                    <a16:creationId xmlns:a16="http://schemas.microsoft.com/office/drawing/2014/main" id="{4A06B275-129F-1346-A6D0-B7BA77EADC27}"/>
                  </a:ext>
                </a:extLst>
              </p:cNvPr>
              <p:cNvSpPr/>
              <p:nvPr/>
            </p:nvSpPr>
            <p:spPr>
              <a:xfrm>
                <a:off x="46636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6" name="Rectangle 123">
                <a:extLst>
                  <a:ext uri="{FF2B5EF4-FFF2-40B4-BE49-F238E27FC236}">
                    <a16:creationId xmlns:a16="http://schemas.microsoft.com/office/drawing/2014/main" id="{ADD6EBAA-F581-644C-AF3A-BD46ECA4E19E}"/>
                  </a:ext>
                </a:extLst>
              </p:cNvPr>
              <p:cNvSpPr/>
              <p:nvPr/>
            </p:nvSpPr>
            <p:spPr>
              <a:xfrm>
                <a:off x="47953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7" name="Rectangle 124">
                <a:extLst>
                  <a:ext uri="{FF2B5EF4-FFF2-40B4-BE49-F238E27FC236}">
                    <a16:creationId xmlns:a16="http://schemas.microsoft.com/office/drawing/2014/main" id="{1B2F1ECB-EEEC-494A-8BA0-F73AB5E46565}"/>
                  </a:ext>
                </a:extLst>
              </p:cNvPr>
              <p:cNvSpPr/>
              <p:nvPr/>
            </p:nvSpPr>
            <p:spPr>
              <a:xfrm>
                <a:off x="49270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8" name="Rectangle 125">
                <a:extLst>
                  <a:ext uri="{FF2B5EF4-FFF2-40B4-BE49-F238E27FC236}">
                    <a16:creationId xmlns:a16="http://schemas.microsoft.com/office/drawing/2014/main" id="{3ADFE08A-FE47-0344-B0B4-096E2E27AE5C}"/>
                  </a:ext>
                </a:extLst>
              </p:cNvPr>
              <p:cNvSpPr/>
              <p:nvPr/>
            </p:nvSpPr>
            <p:spPr>
              <a:xfrm>
                <a:off x="50587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9" name="Rectangle 126">
                <a:extLst>
                  <a:ext uri="{FF2B5EF4-FFF2-40B4-BE49-F238E27FC236}">
                    <a16:creationId xmlns:a16="http://schemas.microsoft.com/office/drawing/2014/main" id="{01A4B7A6-411C-7E4F-ABC9-B8AAF17FAAEF}"/>
                  </a:ext>
                </a:extLst>
              </p:cNvPr>
              <p:cNvSpPr/>
              <p:nvPr/>
            </p:nvSpPr>
            <p:spPr>
              <a:xfrm>
                <a:off x="51905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0" name="Rectangle 113">
                <a:extLst>
                  <a:ext uri="{FF2B5EF4-FFF2-40B4-BE49-F238E27FC236}">
                    <a16:creationId xmlns:a16="http://schemas.microsoft.com/office/drawing/2014/main" id="{059E6955-F2F3-F74A-B22B-9E47D1706175}"/>
                  </a:ext>
                </a:extLst>
              </p:cNvPr>
              <p:cNvSpPr/>
              <p:nvPr/>
            </p:nvSpPr>
            <p:spPr>
              <a:xfrm>
                <a:off x="62443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1" name="Rectangle 114">
                <a:extLst>
                  <a:ext uri="{FF2B5EF4-FFF2-40B4-BE49-F238E27FC236}">
                    <a16:creationId xmlns:a16="http://schemas.microsoft.com/office/drawing/2014/main" id="{BF95B8A5-309D-3E44-AA71-5F3E96CF39B0}"/>
                  </a:ext>
                </a:extLst>
              </p:cNvPr>
              <p:cNvSpPr/>
              <p:nvPr/>
            </p:nvSpPr>
            <p:spPr>
              <a:xfrm>
                <a:off x="54539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" name="Rectangle 115">
                <a:extLst>
                  <a:ext uri="{FF2B5EF4-FFF2-40B4-BE49-F238E27FC236}">
                    <a16:creationId xmlns:a16="http://schemas.microsoft.com/office/drawing/2014/main" id="{12892581-B0EB-1A4F-B46E-D3E81869CC8A}"/>
                  </a:ext>
                </a:extLst>
              </p:cNvPr>
              <p:cNvSpPr/>
              <p:nvPr/>
            </p:nvSpPr>
            <p:spPr>
              <a:xfrm>
                <a:off x="55856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3" name="Rectangle 116">
                <a:extLst>
                  <a:ext uri="{FF2B5EF4-FFF2-40B4-BE49-F238E27FC236}">
                    <a16:creationId xmlns:a16="http://schemas.microsoft.com/office/drawing/2014/main" id="{70DA3ADF-B66C-2540-B004-A6B32FD80307}"/>
                  </a:ext>
                </a:extLst>
              </p:cNvPr>
              <p:cNvSpPr/>
              <p:nvPr/>
            </p:nvSpPr>
            <p:spPr>
              <a:xfrm>
                <a:off x="57174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4" name="Rectangle 117">
                <a:extLst>
                  <a:ext uri="{FF2B5EF4-FFF2-40B4-BE49-F238E27FC236}">
                    <a16:creationId xmlns:a16="http://schemas.microsoft.com/office/drawing/2014/main" id="{08AC5095-4DCB-864E-B4CD-4204D3C0F3B0}"/>
                  </a:ext>
                </a:extLst>
              </p:cNvPr>
              <p:cNvSpPr/>
              <p:nvPr/>
            </p:nvSpPr>
            <p:spPr>
              <a:xfrm>
                <a:off x="58491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6" name="Rectangle 118">
                <a:extLst>
                  <a:ext uri="{FF2B5EF4-FFF2-40B4-BE49-F238E27FC236}">
                    <a16:creationId xmlns:a16="http://schemas.microsoft.com/office/drawing/2014/main" id="{6DCF58E4-CAED-4147-8F10-0BCA3768C967}"/>
                  </a:ext>
                </a:extLst>
              </p:cNvPr>
              <p:cNvSpPr/>
              <p:nvPr/>
            </p:nvSpPr>
            <p:spPr>
              <a:xfrm>
                <a:off x="59808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7" name="Rectangle 119">
                <a:extLst>
                  <a:ext uri="{FF2B5EF4-FFF2-40B4-BE49-F238E27FC236}">
                    <a16:creationId xmlns:a16="http://schemas.microsoft.com/office/drawing/2014/main" id="{92103CF9-DF59-4F45-8513-2271BE368B38}"/>
                  </a:ext>
                </a:extLst>
              </p:cNvPr>
              <p:cNvSpPr/>
              <p:nvPr/>
            </p:nvSpPr>
            <p:spPr>
              <a:xfrm>
                <a:off x="61125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8" name="Rectangle 106">
                <a:extLst>
                  <a:ext uri="{FF2B5EF4-FFF2-40B4-BE49-F238E27FC236}">
                    <a16:creationId xmlns:a16="http://schemas.microsoft.com/office/drawing/2014/main" id="{459534F3-9436-A640-B6F1-38F380AA5440}"/>
                  </a:ext>
                </a:extLst>
              </p:cNvPr>
              <p:cNvSpPr/>
              <p:nvPr/>
            </p:nvSpPr>
            <p:spPr>
              <a:xfrm>
                <a:off x="71663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9" name="Rectangle 107">
                <a:extLst>
                  <a:ext uri="{FF2B5EF4-FFF2-40B4-BE49-F238E27FC236}">
                    <a16:creationId xmlns:a16="http://schemas.microsoft.com/office/drawing/2014/main" id="{F2531856-1010-2646-BD4E-E0203B4330B9}"/>
                  </a:ext>
                </a:extLst>
              </p:cNvPr>
              <p:cNvSpPr/>
              <p:nvPr/>
            </p:nvSpPr>
            <p:spPr>
              <a:xfrm>
                <a:off x="63760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0" name="Rectangle 108">
                <a:extLst>
                  <a:ext uri="{FF2B5EF4-FFF2-40B4-BE49-F238E27FC236}">
                    <a16:creationId xmlns:a16="http://schemas.microsoft.com/office/drawing/2014/main" id="{CF85818A-76EB-B243-9A24-5034719393DE}"/>
                  </a:ext>
                </a:extLst>
              </p:cNvPr>
              <p:cNvSpPr/>
              <p:nvPr/>
            </p:nvSpPr>
            <p:spPr>
              <a:xfrm>
                <a:off x="65077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1" name="Rectangle 109">
                <a:extLst>
                  <a:ext uri="{FF2B5EF4-FFF2-40B4-BE49-F238E27FC236}">
                    <a16:creationId xmlns:a16="http://schemas.microsoft.com/office/drawing/2014/main" id="{DB07773A-9E83-A144-B66A-B20AE49D2BDE}"/>
                  </a:ext>
                </a:extLst>
              </p:cNvPr>
              <p:cNvSpPr/>
              <p:nvPr/>
            </p:nvSpPr>
            <p:spPr>
              <a:xfrm>
                <a:off x="66394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9" name="Rectangle 110">
                <a:extLst>
                  <a:ext uri="{FF2B5EF4-FFF2-40B4-BE49-F238E27FC236}">
                    <a16:creationId xmlns:a16="http://schemas.microsoft.com/office/drawing/2014/main" id="{600767D3-36E3-B44E-A64C-0EAD8898A949}"/>
                  </a:ext>
                </a:extLst>
              </p:cNvPr>
              <p:cNvSpPr/>
              <p:nvPr/>
            </p:nvSpPr>
            <p:spPr>
              <a:xfrm>
                <a:off x="67712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DE94CA9B-FFEB-B640-BF38-B9397E8D3FB3}"/>
                  </a:ext>
                </a:extLst>
              </p:cNvPr>
              <p:cNvSpPr/>
              <p:nvPr/>
            </p:nvSpPr>
            <p:spPr>
              <a:xfrm>
                <a:off x="69029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72BA9AF4-194C-8D44-B2DA-84963536EE35}"/>
                  </a:ext>
                </a:extLst>
              </p:cNvPr>
              <p:cNvSpPr/>
              <p:nvPr/>
            </p:nvSpPr>
            <p:spPr>
              <a:xfrm>
                <a:off x="70346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5" name="Rectangle 99">
                <a:extLst>
                  <a:ext uri="{FF2B5EF4-FFF2-40B4-BE49-F238E27FC236}">
                    <a16:creationId xmlns:a16="http://schemas.microsoft.com/office/drawing/2014/main" id="{DAB2156A-E5D2-D049-8FD2-A4621479F750}"/>
                  </a:ext>
                </a:extLst>
              </p:cNvPr>
              <p:cNvSpPr/>
              <p:nvPr/>
            </p:nvSpPr>
            <p:spPr>
              <a:xfrm>
                <a:off x="80884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6" name="Rectangle 100">
                <a:extLst>
                  <a:ext uri="{FF2B5EF4-FFF2-40B4-BE49-F238E27FC236}">
                    <a16:creationId xmlns:a16="http://schemas.microsoft.com/office/drawing/2014/main" id="{B97072BD-A092-C545-B224-B7C533BF9481}"/>
                  </a:ext>
                </a:extLst>
              </p:cNvPr>
              <p:cNvSpPr/>
              <p:nvPr/>
            </p:nvSpPr>
            <p:spPr>
              <a:xfrm>
                <a:off x="72981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7" name="Rectangle 101">
                <a:extLst>
                  <a:ext uri="{FF2B5EF4-FFF2-40B4-BE49-F238E27FC236}">
                    <a16:creationId xmlns:a16="http://schemas.microsoft.com/office/drawing/2014/main" id="{83FFC35D-B8B7-FA4D-B345-236726C1C8CB}"/>
                  </a:ext>
                </a:extLst>
              </p:cNvPr>
              <p:cNvSpPr/>
              <p:nvPr/>
            </p:nvSpPr>
            <p:spPr>
              <a:xfrm>
                <a:off x="74298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8" name="Rectangle 102">
                <a:extLst>
                  <a:ext uri="{FF2B5EF4-FFF2-40B4-BE49-F238E27FC236}">
                    <a16:creationId xmlns:a16="http://schemas.microsoft.com/office/drawing/2014/main" id="{331CD775-C1D0-ED4C-8A30-AA9796191597}"/>
                  </a:ext>
                </a:extLst>
              </p:cNvPr>
              <p:cNvSpPr/>
              <p:nvPr/>
            </p:nvSpPr>
            <p:spPr>
              <a:xfrm>
                <a:off x="75615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9" name="Rectangle 103">
                <a:extLst>
                  <a:ext uri="{FF2B5EF4-FFF2-40B4-BE49-F238E27FC236}">
                    <a16:creationId xmlns:a16="http://schemas.microsoft.com/office/drawing/2014/main" id="{2410FC64-BAAD-0740-B191-89B761133AC5}"/>
                  </a:ext>
                </a:extLst>
              </p:cNvPr>
              <p:cNvSpPr/>
              <p:nvPr/>
            </p:nvSpPr>
            <p:spPr>
              <a:xfrm>
                <a:off x="76932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1" name="Rectangle 104">
                <a:extLst>
                  <a:ext uri="{FF2B5EF4-FFF2-40B4-BE49-F238E27FC236}">
                    <a16:creationId xmlns:a16="http://schemas.microsoft.com/office/drawing/2014/main" id="{91FB5C6D-5C29-5744-81E9-C0F5DB68B41C}"/>
                  </a:ext>
                </a:extLst>
              </p:cNvPr>
              <p:cNvSpPr/>
              <p:nvPr/>
            </p:nvSpPr>
            <p:spPr>
              <a:xfrm>
                <a:off x="78250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6" name="Rectangle 105">
                <a:extLst>
                  <a:ext uri="{FF2B5EF4-FFF2-40B4-BE49-F238E27FC236}">
                    <a16:creationId xmlns:a16="http://schemas.microsoft.com/office/drawing/2014/main" id="{3A1856B1-2F7E-2447-BC9F-9F3D1379428E}"/>
                  </a:ext>
                </a:extLst>
              </p:cNvPr>
              <p:cNvSpPr/>
              <p:nvPr/>
            </p:nvSpPr>
            <p:spPr>
              <a:xfrm>
                <a:off x="79567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7" name="Rectangle 92">
                <a:extLst>
                  <a:ext uri="{FF2B5EF4-FFF2-40B4-BE49-F238E27FC236}">
                    <a16:creationId xmlns:a16="http://schemas.microsoft.com/office/drawing/2014/main" id="{D65AD882-DBF4-EA43-B169-CC44C743968E}"/>
                  </a:ext>
                </a:extLst>
              </p:cNvPr>
              <p:cNvSpPr/>
              <p:nvPr/>
            </p:nvSpPr>
            <p:spPr>
              <a:xfrm>
                <a:off x="90105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8" name="Rectangle 93">
                <a:extLst>
                  <a:ext uri="{FF2B5EF4-FFF2-40B4-BE49-F238E27FC236}">
                    <a16:creationId xmlns:a16="http://schemas.microsoft.com/office/drawing/2014/main" id="{1B3238A3-D0BC-6C40-BA44-10ABF3B9ABD0}"/>
                  </a:ext>
                </a:extLst>
              </p:cNvPr>
              <p:cNvSpPr/>
              <p:nvPr/>
            </p:nvSpPr>
            <p:spPr>
              <a:xfrm>
                <a:off x="82201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9" name="Rectangle 94">
                <a:extLst>
                  <a:ext uri="{FF2B5EF4-FFF2-40B4-BE49-F238E27FC236}">
                    <a16:creationId xmlns:a16="http://schemas.microsoft.com/office/drawing/2014/main" id="{3CC530E3-7269-2F40-A7EB-2BA16B660872}"/>
                  </a:ext>
                </a:extLst>
              </p:cNvPr>
              <p:cNvSpPr/>
              <p:nvPr/>
            </p:nvSpPr>
            <p:spPr>
              <a:xfrm>
                <a:off x="83519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0" name="Rectangle 95">
                <a:extLst>
                  <a:ext uri="{FF2B5EF4-FFF2-40B4-BE49-F238E27FC236}">
                    <a16:creationId xmlns:a16="http://schemas.microsoft.com/office/drawing/2014/main" id="{71136343-4FB5-8B42-B84C-96A715FC914F}"/>
                  </a:ext>
                </a:extLst>
              </p:cNvPr>
              <p:cNvSpPr/>
              <p:nvPr/>
            </p:nvSpPr>
            <p:spPr>
              <a:xfrm>
                <a:off x="84836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1" name="Rectangle 96">
                <a:extLst>
                  <a:ext uri="{FF2B5EF4-FFF2-40B4-BE49-F238E27FC236}">
                    <a16:creationId xmlns:a16="http://schemas.microsoft.com/office/drawing/2014/main" id="{4CE14EE7-9F8E-0A42-9B2A-882E3F9B6BC3}"/>
                  </a:ext>
                </a:extLst>
              </p:cNvPr>
              <p:cNvSpPr/>
              <p:nvPr/>
            </p:nvSpPr>
            <p:spPr>
              <a:xfrm>
                <a:off x="86153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2" name="Rectangle 97">
                <a:extLst>
                  <a:ext uri="{FF2B5EF4-FFF2-40B4-BE49-F238E27FC236}">
                    <a16:creationId xmlns:a16="http://schemas.microsoft.com/office/drawing/2014/main" id="{522FF2AC-30CA-9D4A-9CEB-BC99AAFB039F}"/>
                  </a:ext>
                </a:extLst>
              </p:cNvPr>
              <p:cNvSpPr/>
              <p:nvPr/>
            </p:nvSpPr>
            <p:spPr>
              <a:xfrm>
                <a:off x="87470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" name="Rectangle 98">
                <a:extLst>
                  <a:ext uri="{FF2B5EF4-FFF2-40B4-BE49-F238E27FC236}">
                    <a16:creationId xmlns:a16="http://schemas.microsoft.com/office/drawing/2014/main" id="{43C89827-DA1D-B84A-B0D8-8FCE74F63C56}"/>
                  </a:ext>
                </a:extLst>
              </p:cNvPr>
              <p:cNvSpPr/>
              <p:nvPr/>
            </p:nvSpPr>
            <p:spPr>
              <a:xfrm>
                <a:off x="88788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4" name="Rectangle 73">
                <a:extLst>
                  <a:ext uri="{FF2B5EF4-FFF2-40B4-BE49-F238E27FC236}">
                    <a16:creationId xmlns:a16="http://schemas.microsoft.com/office/drawing/2014/main" id="{74E5F602-85C8-C54B-9F98-CAD206F2831A}"/>
                  </a:ext>
                </a:extLst>
              </p:cNvPr>
              <p:cNvSpPr/>
              <p:nvPr/>
            </p:nvSpPr>
            <p:spPr>
              <a:xfrm>
                <a:off x="9932616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5" name="Rectangle 74">
                <a:extLst>
                  <a:ext uri="{FF2B5EF4-FFF2-40B4-BE49-F238E27FC236}">
                    <a16:creationId xmlns:a16="http://schemas.microsoft.com/office/drawing/2014/main" id="{3C693130-B734-4442-B158-FECD3641E86A}"/>
                  </a:ext>
                </a:extLst>
              </p:cNvPr>
              <p:cNvSpPr/>
              <p:nvPr/>
            </p:nvSpPr>
            <p:spPr>
              <a:xfrm>
                <a:off x="91422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6" name="Rectangle 76">
                <a:extLst>
                  <a:ext uri="{FF2B5EF4-FFF2-40B4-BE49-F238E27FC236}">
                    <a16:creationId xmlns:a16="http://schemas.microsoft.com/office/drawing/2014/main" id="{A034B5CD-C382-4744-A19F-FBD12DFCFE5B}"/>
                  </a:ext>
                </a:extLst>
              </p:cNvPr>
              <p:cNvSpPr/>
              <p:nvPr/>
            </p:nvSpPr>
            <p:spPr>
              <a:xfrm>
                <a:off x="92739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7" name="Rectangle 77">
                <a:extLst>
                  <a:ext uri="{FF2B5EF4-FFF2-40B4-BE49-F238E27FC236}">
                    <a16:creationId xmlns:a16="http://schemas.microsoft.com/office/drawing/2014/main" id="{D13A5BC5-657C-E946-9373-250A840F7EE0}"/>
                  </a:ext>
                </a:extLst>
              </p:cNvPr>
              <p:cNvSpPr/>
              <p:nvPr/>
            </p:nvSpPr>
            <p:spPr>
              <a:xfrm>
                <a:off x="94057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8" name="Rectangle 79">
                <a:extLst>
                  <a:ext uri="{FF2B5EF4-FFF2-40B4-BE49-F238E27FC236}">
                    <a16:creationId xmlns:a16="http://schemas.microsoft.com/office/drawing/2014/main" id="{6A81EA31-E40A-4D4C-85F5-39FCC4241DBC}"/>
                  </a:ext>
                </a:extLst>
              </p:cNvPr>
              <p:cNvSpPr/>
              <p:nvPr/>
            </p:nvSpPr>
            <p:spPr>
              <a:xfrm>
                <a:off x="9537441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9" name="Rectangle 80">
                <a:extLst>
                  <a:ext uri="{FF2B5EF4-FFF2-40B4-BE49-F238E27FC236}">
                    <a16:creationId xmlns:a16="http://schemas.microsoft.com/office/drawing/2014/main" id="{9B9C349C-34CF-974A-908F-9D7EFE2BBC22}"/>
                  </a:ext>
                </a:extLst>
              </p:cNvPr>
              <p:cNvSpPr/>
              <p:nvPr/>
            </p:nvSpPr>
            <p:spPr>
              <a:xfrm>
                <a:off x="9669166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0" name="Rectangle 86">
                <a:extLst>
                  <a:ext uri="{FF2B5EF4-FFF2-40B4-BE49-F238E27FC236}">
                    <a16:creationId xmlns:a16="http://schemas.microsoft.com/office/drawing/2014/main" id="{8C175040-273F-8046-9DC5-78C4C5B88F32}"/>
                  </a:ext>
                </a:extLst>
              </p:cNvPr>
              <p:cNvSpPr/>
              <p:nvPr/>
            </p:nvSpPr>
            <p:spPr>
              <a:xfrm>
                <a:off x="9800891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1" name="Rectangle 87">
                <a:extLst>
                  <a:ext uri="{FF2B5EF4-FFF2-40B4-BE49-F238E27FC236}">
                    <a16:creationId xmlns:a16="http://schemas.microsoft.com/office/drawing/2014/main" id="{9C7CF764-13DB-FB46-AE93-3B3E9FBDD163}"/>
                  </a:ext>
                </a:extLst>
              </p:cNvPr>
              <p:cNvSpPr/>
              <p:nvPr/>
            </p:nvSpPr>
            <p:spPr>
              <a:xfrm>
                <a:off x="10064331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2" name="Rectangle 88">
                <a:extLst>
                  <a:ext uri="{FF2B5EF4-FFF2-40B4-BE49-F238E27FC236}">
                    <a16:creationId xmlns:a16="http://schemas.microsoft.com/office/drawing/2014/main" id="{B9BF3EB6-9C9E-AF4E-A2C2-534F512D08A7}"/>
                  </a:ext>
                </a:extLst>
              </p:cNvPr>
              <p:cNvSpPr/>
              <p:nvPr/>
            </p:nvSpPr>
            <p:spPr>
              <a:xfrm>
                <a:off x="9932607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3" name="Rectangle 89">
                <a:extLst>
                  <a:ext uri="{FF2B5EF4-FFF2-40B4-BE49-F238E27FC236}">
                    <a16:creationId xmlns:a16="http://schemas.microsoft.com/office/drawing/2014/main" id="{09C4FFFD-F90A-4B42-9362-E3DDC6F16BF5}"/>
                  </a:ext>
                </a:extLst>
              </p:cNvPr>
              <p:cNvSpPr/>
              <p:nvPr/>
            </p:nvSpPr>
            <p:spPr>
              <a:xfrm>
                <a:off x="10064331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6" name="Rectangle 64">
                <a:extLst>
                  <a:ext uri="{FF2B5EF4-FFF2-40B4-BE49-F238E27FC236}">
                    <a16:creationId xmlns:a16="http://schemas.microsoft.com/office/drawing/2014/main" id="{A0654D57-905C-654D-843D-AABCD1CBDF7C}"/>
                  </a:ext>
                </a:extLst>
              </p:cNvPr>
              <p:cNvSpPr/>
              <p:nvPr/>
            </p:nvSpPr>
            <p:spPr>
              <a:xfrm>
                <a:off x="9800885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7" name="Rectangle 65">
                <a:extLst>
                  <a:ext uri="{FF2B5EF4-FFF2-40B4-BE49-F238E27FC236}">
                    <a16:creationId xmlns:a16="http://schemas.microsoft.com/office/drawing/2014/main" id="{F8BE154F-95BA-8049-9FA7-FC3708F3B697}"/>
                  </a:ext>
                </a:extLst>
              </p:cNvPr>
              <p:cNvSpPr/>
              <p:nvPr/>
            </p:nvSpPr>
            <p:spPr>
              <a:xfrm>
                <a:off x="8615365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8" name="Rectangle 66">
                <a:extLst>
                  <a:ext uri="{FF2B5EF4-FFF2-40B4-BE49-F238E27FC236}">
                    <a16:creationId xmlns:a16="http://schemas.microsoft.com/office/drawing/2014/main" id="{B81920F2-5547-764D-8D6C-6EEEFD0AEC9A}"/>
                  </a:ext>
                </a:extLst>
              </p:cNvPr>
              <p:cNvSpPr/>
              <p:nvPr/>
            </p:nvSpPr>
            <p:spPr>
              <a:xfrm>
                <a:off x="8747090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9" name="Rectangle 67">
                <a:extLst>
                  <a:ext uri="{FF2B5EF4-FFF2-40B4-BE49-F238E27FC236}">
                    <a16:creationId xmlns:a16="http://schemas.microsoft.com/office/drawing/2014/main" id="{2FA97E52-FAB0-D644-A945-A3EF867D960B}"/>
                  </a:ext>
                </a:extLst>
              </p:cNvPr>
              <p:cNvSpPr/>
              <p:nvPr/>
            </p:nvSpPr>
            <p:spPr>
              <a:xfrm>
                <a:off x="8878815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50" name="Rectangle 68">
                <a:extLst>
                  <a:ext uri="{FF2B5EF4-FFF2-40B4-BE49-F238E27FC236}">
                    <a16:creationId xmlns:a16="http://schemas.microsoft.com/office/drawing/2014/main" id="{AA181CD6-FE91-F94E-888A-CF8006578CA0}"/>
                  </a:ext>
                </a:extLst>
              </p:cNvPr>
              <p:cNvSpPr/>
              <p:nvPr/>
            </p:nvSpPr>
            <p:spPr>
              <a:xfrm>
                <a:off x="9010540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51" name="Rectangle 69">
                <a:extLst>
                  <a:ext uri="{FF2B5EF4-FFF2-40B4-BE49-F238E27FC236}">
                    <a16:creationId xmlns:a16="http://schemas.microsoft.com/office/drawing/2014/main" id="{2941A72C-7E8F-E846-AE79-AB108B5B2159}"/>
                  </a:ext>
                </a:extLst>
              </p:cNvPr>
              <p:cNvSpPr/>
              <p:nvPr/>
            </p:nvSpPr>
            <p:spPr>
              <a:xfrm>
                <a:off x="9537441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52" name="Rectangle 70">
                <a:extLst>
                  <a:ext uri="{FF2B5EF4-FFF2-40B4-BE49-F238E27FC236}">
                    <a16:creationId xmlns:a16="http://schemas.microsoft.com/office/drawing/2014/main" id="{2DC51A4B-C9DD-374D-BC02-4332CD8BCFD5}"/>
                  </a:ext>
                </a:extLst>
              </p:cNvPr>
              <p:cNvSpPr/>
              <p:nvPr/>
            </p:nvSpPr>
            <p:spPr>
              <a:xfrm>
                <a:off x="966916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175" name="Rectangle 35">
              <a:extLst>
                <a:ext uri="{FF2B5EF4-FFF2-40B4-BE49-F238E27FC236}">
                  <a16:creationId xmlns:a16="http://schemas.microsoft.com/office/drawing/2014/main" id="{B296E94C-03B9-844C-BA90-5F207AE1700A}"/>
                </a:ext>
              </a:extLst>
            </p:cNvPr>
            <p:cNvSpPr/>
            <p:nvPr/>
          </p:nvSpPr>
          <p:spPr bwMode="gray">
            <a:xfrm>
              <a:off x="2810235" y="3894766"/>
              <a:ext cx="7523702" cy="504482"/>
            </a:xfrm>
            <a:prstGeom prst="rect">
              <a:avLst/>
            </a:prstGeom>
            <a:gradFill>
              <a:gsLst>
                <a:gs pos="7000">
                  <a:srgbClr val="F3F8FB">
                    <a:alpha val="0"/>
                  </a:srgbClr>
                </a:gs>
                <a:gs pos="93000">
                  <a:srgbClr val="F3F8FB">
                    <a:alpha val="0"/>
                  </a:srgbClr>
                </a:gs>
                <a:gs pos="65000">
                  <a:schemeClr val="accent3"/>
                </a:gs>
                <a:gs pos="36000">
                  <a:schemeClr val="accent3"/>
                </a:gs>
                <a:gs pos="50000">
                  <a:srgbClr val="318CB7"/>
                </a:gs>
              </a:gsLst>
              <a:lin ang="0" scaled="0"/>
            </a:gradFill>
            <a:ln w="25400" algn="ctr">
              <a:noFill/>
              <a:miter lim="800000"/>
              <a:headEnd/>
              <a:tailEnd/>
            </a:ln>
          </p:spPr>
          <p:txBody>
            <a:bodyPr lIns="89931" tIns="72000" rIns="89931" bIns="71943" rtlCol="0" anchor="t" anchorCtr="0"/>
            <a:lstStyle/>
            <a:p>
              <a:pPr marL="0" marR="0" lvl="0" indent="0" algn="ctr" defTabSz="913578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SAP </a:t>
              </a:r>
              <a:r>
                <a:rPr kumimoji="0" lang="en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Business Technology Platform</a:t>
              </a:r>
            </a:p>
          </p:txBody>
        </p:sp>
        <p:grpSp>
          <p:nvGrpSpPr>
            <p:cNvPr id="177" name="Gruppieren 157">
              <a:extLst>
                <a:ext uri="{FF2B5EF4-FFF2-40B4-BE49-F238E27FC236}">
                  <a16:creationId xmlns:a16="http://schemas.microsoft.com/office/drawing/2014/main" id="{7AD27E3A-4E7E-404B-B8EF-C30D9E40104B}"/>
                </a:ext>
              </a:extLst>
            </p:cNvPr>
            <p:cNvGrpSpPr/>
            <p:nvPr/>
          </p:nvGrpSpPr>
          <p:grpSpPr>
            <a:xfrm>
              <a:off x="2897143" y="3947709"/>
              <a:ext cx="7349871" cy="375458"/>
              <a:chOff x="2819463" y="4912882"/>
              <a:chExt cx="7351792" cy="375556"/>
            </a:xfrm>
          </p:grpSpPr>
          <p:sp>
            <p:nvSpPr>
              <p:cNvPr id="178" name="Rectangle 148">
                <a:extLst>
                  <a:ext uri="{FF2B5EF4-FFF2-40B4-BE49-F238E27FC236}">
                    <a16:creationId xmlns:a16="http://schemas.microsoft.com/office/drawing/2014/main" id="{83806904-9FFF-4145-8655-3D242F02B9AF}"/>
                  </a:ext>
                </a:extLst>
              </p:cNvPr>
              <p:cNvSpPr/>
              <p:nvPr/>
            </p:nvSpPr>
            <p:spPr>
              <a:xfrm>
                <a:off x="347808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79" name="Rectangle 149">
                <a:extLst>
                  <a:ext uri="{FF2B5EF4-FFF2-40B4-BE49-F238E27FC236}">
                    <a16:creationId xmlns:a16="http://schemas.microsoft.com/office/drawing/2014/main" id="{7F922095-E6C4-D145-BEE3-8F6D8FED5204}"/>
                  </a:ext>
                </a:extLst>
              </p:cNvPr>
              <p:cNvSpPr/>
              <p:nvPr/>
            </p:nvSpPr>
            <p:spPr>
              <a:xfrm>
                <a:off x="281946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0" name="Rectangle 150">
                <a:extLst>
                  <a:ext uri="{FF2B5EF4-FFF2-40B4-BE49-F238E27FC236}">
                    <a16:creationId xmlns:a16="http://schemas.microsoft.com/office/drawing/2014/main" id="{421D47BB-01DF-0444-9AA1-52263038DB60}"/>
                  </a:ext>
                </a:extLst>
              </p:cNvPr>
              <p:cNvSpPr/>
              <p:nvPr/>
            </p:nvSpPr>
            <p:spPr>
              <a:xfrm>
                <a:off x="295118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1" name="Rectangle 151">
                <a:extLst>
                  <a:ext uri="{FF2B5EF4-FFF2-40B4-BE49-F238E27FC236}">
                    <a16:creationId xmlns:a16="http://schemas.microsoft.com/office/drawing/2014/main" id="{7E828706-D732-C947-AE1C-44766838F3ED}"/>
                  </a:ext>
                </a:extLst>
              </p:cNvPr>
              <p:cNvSpPr/>
              <p:nvPr/>
            </p:nvSpPr>
            <p:spPr>
              <a:xfrm>
                <a:off x="308291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2" name="Rectangle 152">
                <a:extLst>
                  <a:ext uri="{FF2B5EF4-FFF2-40B4-BE49-F238E27FC236}">
                    <a16:creationId xmlns:a16="http://schemas.microsoft.com/office/drawing/2014/main" id="{6FE6B868-3315-1A4F-A1BC-B001FB1E2431}"/>
                  </a:ext>
                </a:extLst>
              </p:cNvPr>
              <p:cNvSpPr/>
              <p:nvPr/>
            </p:nvSpPr>
            <p:spPr>
              <a:xfrm>
                <a:off x="321463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3" name="Rectangle 153">
                <a:extLst>
                  <a:ext uri="{FF2B5EF4-FFF2-40B4-BE49-F238E27FC236}">
                    <a16:creationId xmlns:a16="http://schemas.microsoft.com/office/drawing/2014/main" id="{AD45B3E8-AC1C-0F47-BCAB-67EDA097361B}"/>
                  </a:ext>
                </a:extLst>
              </p:cNvPr>
              <p:cNvSpPr/>
              <p:nvPr/>
            </p:nvSpPr>
            <p:spPr>
              <a:xfrm>
                <a:off x="334636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4" name="Rectangle 141">
                <a:extLst>
                  <a:ext uri="{FF2B5EF4-FFF2-40B4-BE49-F238E27FC236}">
                    <a16:creationId xmlns:a16="http://schemas.microsoft.com/office/drawing/2014/main" id="{196398A2-D631-FC49-8D63-F225BF786054}"/>
                  </a:ext>
                </a:extLst>
              </p:cNvPr>
              <p:cNvSpPr/>
              <p:nvPr/>
            </p:nvSpPr>
            <p:spPr>
              <a:xfrm>
                <a:off x="44001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5" name="Rectangle 142">
                <a:extLst>
                  <a:ext uri="{FF2B5EF4-FFF2-40B4-BE49-F238E27FC236}">
                    <a16:creationId xmlns:a16="http://schemas.microsoft.com/office/drawing/2014/main" id="{F6D1141B-A1FF-F34E-A07B-3257C0F6A6E5}"/>
                  </a:ext>
                </a:extLst>
              </p:cNvPr>
              <p:cNvSpPr/>
              <p:nvPr/>
            </p:nvSpPr>
            <p:spPr>
              <a:xfrm>
                <a:off x="360981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6" name="Rectangle 143">
                <a:extLst>
                  <a:ext uri="{FF2B5EF4-FFF2-40B4-BE49-F238E27FC236}">
                    <a16:creationId xmlns:a16="http://schemas.microsoft.com/office/drawing/2014/main" id="{23156D8C-2023-984F-B8B7-FF71279C0B73}"/>
                  </a:ext>
                </a:extLst>
              </p:cNvPr>
              <p:cNvSpPr/>
              <p:nvPr/>
            </p:nvSpPr>
            <p:spPr>
              <a:xfrm>
                <a:off x="374153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7" name="Rectangle 144">
                <a:extLst>
                  <a:ext uri="{FF2B5EF4-FFF2-40B4-BE49-F238E27FC236}">
                    <a16:creationId xmlns:a16="http://schemas.microsoft.com/office/drawing/2014/main" id="{3366EA23-6BFF-3F48-B9A9-1AA1D5E50A60}"/>
                  </a:ext>
                </a:extLst>
              </p:cNvPr>
              <p:cNvSpPr/>
              <p:nvPr/>
            </p:nvSpPr>
            <p:spPr>
              <a:xfrm>
                <a:off x="387326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8" name="Rectangle 145">
                <a:extLst>
                  <a:ext uri="{FF2B5EF4-FFF2-40B4-BE49-F238E27FC236}">
                    <a16:creationId xmlns:a16="http://schemas.microsoft.com/office/drawing/2014/main" id="{D3CA552C-3EF9-9541-80F1-6D612950D870}"/>
                  </a:ext>
                </a:extLst>
              </p:cNvPr>
              <p:cNvSpPr/>
              <p:nvPr/>
            </p:nvSpPr>
            <p:spPr>
              <a:xfrm>
                <a:off x="4004988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9" name="Rectangle 146">
                <a:extLst>
                  <a:ext uri="{FF2B5EF4-FFF2-40B4-BE49-F238E27FC236}">
                    <a16:creationId xmlns:a16="http://schemas.microsoft.com/office/drawing/2014/main" id="{B59EAD1F-5765-4C46-9BFB-B4556AAD1688}"/>
                  </a:ext>
                </a:extLst>
              </p:cNvPr>
              <p:cNvSpPr/>
              <p:nvPr/>
            </p:nvSpPr>
            <p:spPr>
              <a:xfrm>
                <a:off x="4136713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0" name="Rectangle 147">
                <a:extLst>
                  <a:ext uri="{FF2B5EF4-FFF2-40B4-BE49-F238E27FC236}">
                    <a16:creationId xmlns:a16="http://schemas.microsoft.com/office/drawing/2014/main" id="{DF66DDE8-DA92-1741-8151-F5030744F2E8}"/>
                  </a:ext>
                </a:extLst>
              </p:cNvPr>
              <p:cNvSpPr/>
              <p:nvPr/>
            </p:nvSpPr>
            <p:spPr>
              <a:xfrm>
                <a:off x="42684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1" name="Rectangle 133">
                <a:extLst>
                  <a:ext uri="{FF2B5EF4-FFF2-40B4-BE49-F238E27FC236}">
                    <a16:creationId xmlns:a16="http://schemas.microsoft.com/office/drawing/2014/main" id="{30961AE1-E7C2-6F4E-BDBD-0D6EC033CF15}"/>
                  </a:ext>
                </a:extLst>
              </p:cNvPr>
              <p:cNvSpPr/>
              <p:nvPr/>
            </p:nvSpPr>
            <p:spPr>
              <a:xfrm>
                <a:off x="387326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2" name="Rectangle 134">
                <a:extLst>
                  <a:ext uri="{FF2B5EF4-FFF2-40B4-BE49-F238E27FC236}">
                    <a16:creationId xmlns:a16="http://schemas.microsoft.com/office/drawing/2014/main" id="{3980BC6B-1DB3-1F4E-8120-A21DE6A2D810}"/>
                  </a:ext>
                </a:extLst>
              </p:cNvPr>
              <p:cNvSpPr/>
              <p:nvPr/>
            </p:nvSpPr>
            <p:spPr>
              <a:xfrm>
                <a:off x="308291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3" name="Rectangle 135">
                <a:extLst>
                  <a:ext uri="{FF2B5EF4-FFF2-40B4-BE49-F238E27FC236}">
                    <a16:creationId xmlns:a16="http://schemas.microsoft.com/office/drawing/2014/main" id="{42DBF403-AB29-6F41-9743-72693DC03838}"/>
                  </a:ext>
                </a:extLst>
              </p:cNvPr>
              <p:cNvSpPr/>
              <p:nvPr/>
            </p:nvSpPr>
            <p:spPr>
              <a:xfrm>
                <a:off x="321463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4" name="Rectangle 136">
                <a:extLst>
                  <a:ext uri="{FF2B5EF4-FFF2-40B4-BE49-F238E27FC236}">
                    <a16:creationId xmlns:a16="http://schemas.microsoft.com/office/drawing/2014/main" id="{FA010133-7526-764C-9383-18AC17AFCD7B}"/>
                  </a:ext>
                </a:extLst>
              </p:cNvPr>
              <p:cNvSpPr/>
              <p:nvPr/>
            </p:nvSpPr>
            <p:spPr>
              <a:xfrm>
                <a:off x="334636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5" name="Rectangle 137">
                <a:extLst>
                  <a:ext uri="{FF2B5EF4-FFF2-40B4-BE49-F238E27FC236}">
                    <a16:creationId xmlns:a16="http://schemas.microsoft.com/office/drawing/2014/main" id="{7081D980-9DD6-3841-9AFE-47F16FFCD10A}"/>
                  </a:ext>
                </a:extLst>
              </p:cNvPr>
              <p:cNvSpPr/>
              <p:nvPr/>
            </p:nvSpPr>
            <p:spPr>
              <a:xfrm>
                <a:off x="347808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6" name="Rectangle 139">
                <a:extLst>
                  <a:ext uri="{FF2B5EF4-FFF2-40B4-BE49-F238E27FC236}">
                    <a16:creationId xmlns:a16="http://schemas.microsoft.com/office/drawing/2014/main" id="{67149640-8F3A-F04F-B871-A41544030A44}"/>
                  </a:ext>
                </a:extLst>
              </p:cNvPr>
              <p:cNvSpPr/>
              <p:nvPr/>
            </p:nvSpPr>
            <p:spPr>
              <a:xfrm>
                <a:off x="360981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7" name="Rectangle 140">
                <a:extLst>
                  <a:ext uri="{FF2B5EF4-FFF2-40B4-BE49-F238E27FC236}">
                    <a16:creationId xmlns:a16="http://schemas.microsoft.com/office/drawing/2014/main" id="{2AFA3398-3472-9942-9425-403042D865C2}"/>
                  </a:ext>
                </a:extLst>
              </p:cNvPr>
              <p:cNvSpPr/>
              <p:nvPr/>
            </p:nvSpPr>
            <p:spPr>
              <a:xfrm>
                <a:off x="374153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8" name="Rectangle 129">
                <a:extLst>
                  <a:ext uri="{FF2B5EF4-FFF2-40B4-BE49-F238E27FC236}">
                    <a16:creationId xmlns:a16="http://schemas.microsoft.com/office/drawing/2014/main" id="{B4BC6296-CBAA-EE42-A1A3-E320DB937DBC}"/>
                  </a:ext>
                </a:extLst>
              </p:cNvPr>
              <p:cNvSpPr/>
              <p:nvPr/>
            </p:nvSpPr>
            <p:spPr>
              <a:xfrm>
                <a:off x="3214638" y="4912882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9" name="Rectangle 130">
                <a:extLst>
                  <a:ext uri="{FF2B5EF4-FFF2-40B4-BE49-F238E27FC236}">
                    <a16:creationId xmlns:a16="http://schemas.microsoft.com/office/drawing/2014/main" id="{A56BED87-EB31-3C49-8A12-3DBCB55AC172}"/>
                  </a:ext>
                </a:extLst>
              </p:cNvPr>
              <p:cNvSpPr/>
              <p:nvPr/>
            </p:nvSpPr>
            <p:spPr>
              <a:xfrm>
                <a:off x="3478088" y="4912882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0" name="Rectangle 131">
                <a:extLst>
                  <a:ext uri="{FF2B5EF4-FFF2-40B4-BE49-F238E27FC236}">
                    <a16:creationId xmlns:a16="http://schemas.microsoft.com/office/drawing/2014/main" id="{9B06B312-760A-BD48-B223-984CD0692D07}"/>
                  </a:ext>
                </a:extLst>
              </p:cNvPr>
              <p:cNvSpPr/>
              <p:nvPr/>
            </p:nvSpPr>
            <p:spPr>
              <a:xfrm>
                <a:off x="3609813" y="4912882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1" name="Rectangle 132">
                <a:extLst>
                  <a:ext uri="{FF2B5EF4-FFF2-40B4-BE49-F238E27FC236}">
                    <a16:creationId xmlns:a16="http://schemas.microsoft.com/office/drawing/2014/main" id="{9E61B8F1-1E54-324E-BAF7-02AC95CD1EE7}"/>
                  </a:ext>
                </a:extLst>
              </p:cNvPr>
              <p:cNvSpPr/>
              <p:nvPr/>
            </p:nvSpPr>
            <p:spPr>
              <a:xfrm>
                <a:off x="3741538" y="4912882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2" name="Rectangle 127">
                <a:extLst>
                  <a:ext uri="{FF2B5EF4-FFF2-40B4-BE49-F238E27FC236}">
                    <a16:creationId xmlns:a16="http://schemas.microsoft.com/office/drawing/2014/main" id="{081B0EF5-146B-FD42-90D9-AED5F92AF173}"/>
                  </a:ext>
                </a:extLst>
              </p:cNvPr>
              <p:cNvSpPr/>
              <p:nvPr/>
            </p:nvSpPr>
            <p:spPr>
              <a:xfrm>
                <a:off x="400498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3" name="Rectangle 128">
                <a:extLst>
                  <a:ext uri="{FF2B5EF4-FFF2-40B4-BE49-F238E27FC236}">
                    <a16:creationId xmlns:a16="http://schemas.microsoft.com/office/drawing/2014/main" id="{50BBE1C5-1917-364B-898F-7542FF6B9163}"/>
                  </a:ext>
                </a:extLst>
              </p:cNvPr>
              <p:cNvSpPr/>
              <p:nvPr/>
            </p:nvSpPr>
            <p:spPr>
              <a:xfrm>
                <a:off x="413671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4" name="Rectangle 55">
                <a:extLst>
                  <a:ext uri="{FF2B5EF4-FFF2-40B4-BE49-F238E27FC236}">
                    <a16:creationId xmlns:a16="http://schemas.microsoft.com/office/drawing/2014/main" id="{E7A86330-9A09-F144-8FA0-8A7875758C2D}"/>
                  </a:ext>
                </a:extLst>
              </p:cNvPr>
              <p:cNvSpPr/>
              <p:nvPr/>
            </p:nvSpPr>
            <p:spPr>
              <a:xfrm>
                <a:off x="2951188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5" name="Rectangle 120">
                <a:extLst>
                  <a:ext uri="{FF2B5EF4-FFF2-40B4-BE49-F238E27FC236}">
                    <a16:creationId xmlns:a16="http://schemas.microsoft.com/office/drawing/2014/main" id="{073C1E5F-F0EF-D44D-A402-329DA8483131}"/>
                  </a:ext>
                </a:extLst>
              </p:cNvPr>
              <p:cNvSpPr/>
              <p:nvPr/>
            </p:nvSpPr>
            <p:spPr>
              <a:xfrm>
                <a:off x="53222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6" name="Rectangle 121">
                <a:extLst>
                  <a:ext uri="{FF2B5EF4-FFF2-40B4-BE49-F238E27FC236}">
                    <a16:creationId xmlns:a16="http://schemas.microsoft.com/office/drawing/2014/main" id="{D74012AE-4B86-1740-B78B-C4E05C62CB96}"/>
                  </a:ext>
                </a:extLst>
              </p:cNvPr>
              <p:cNvSpPr/>
              <p:nvPr/>
            </p:nvSpPr>
            <p:spPr>
              <a:xfrm>
                <a:off x="45318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7" name="Rectangle 122">
                <a:extLst>
                  <a:ext uri="{FF2B5EF4-FFF2-40B4-BE49-F238E27FC236}">
                    <a16:creationId xmlns:a16="http://schemas.microsoft.com/office/drawing/2014/main" id="{F9D7FA12-41B7-3E42-887B-36C8914D39F7}"/>
                  </a:ext>
                </a:extLst>
              </p:cNvPr>
              <p:cNvSpPr/>
              <p:nvPr/>
            </p:nvSpPr>
            <p:spPr>
              <a:xfrm>
                <a:off x="46636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8" name="Rectangle 123">
                <a:extLst>
                  <a:ext uri="{FF2B5EF4-FFF2-40B4-BE49-F238E27FC236}">
                    <a16:creationId xmlns:a16="http://schemas.microsoft.com/office/drawing/2014/main" id="{A6894E74-A661-A54E-9F4A-A0363A3EDE80}"/>
                  </a:ext>
                </a:extLst>
              </p:cNvPr>
              <p:cNvSpPr/>
              <p:nvPr/>
            </p:nvSpPr>
            <p:spPr>
              <a:xfrm>
                <a:off x="47953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9" name="Rectangle 124">
                <a:extLst>
                  <a:ext uri="{FF2B5EF4-FFF2-40B4-BE49-F238E27FC236}">
                    <a16:creationId xmlns:a16="http://schemas.microsoft.com/office/drawing/2014/main" id="{1415263B-022F-064D-A34B-D79E77F38BC6}"/>
                  </a:ext>
                </a:extLst>
              </p:cNvPr>
              <p:cNvSpPr/>
              <p:nvPr/>
            </p:nvSpPr>
            <p:spPr>
              <a:xfrm>
                <a:off x="49270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0" name="Rectangle 125">
                <a:extLst>
                  <a:ext uri="{FF2B5EF4-FFF2-40B4-BE49-F238E27FC236}">
                    <a16:creationId xmlns:a16="http://schemas.microsoft.com/office/drawing/2014/main" id="{1B4EF59C-48FB-064A-8602-59678BE268AD}"/>
                  </a:ext>
                </a:extLst>
              </p:cNvPr>
              <p:cNvSpPr/>
              <p:nvPr/>
            </p:nvSpPr>
            <p:spPr>
              <a:xfrm>
                <a:off x="50587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1" name="Rectangle 126">
                <a:extLst>
                  <a:ext uri="{FF2B5EF4-FFF2-40B4-BE49-F238E27FC236}">
                    <a16:creationId xmlns:a16="http://schemas.microsoft.com/office/drawing/2014/main" id="{F57FF690-2186-9F4C-B078-3BFCA2FF4138}"/>
                  </a:ext>
                </a:extLst>
              </p:cNvPr>
              <p:cNvSpPr/>
              <p:nvPr/>
            </p:nvSpPr>
            <p:spPr>
              <a:xfrm>
                <a:off x="51905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2" name="Rectangle 113">
                <a:extLst>
                  <a:ext uri="{FF2B5EF4-FFF2-40B4-BE49-F238E27FC236}">
                    <a16:creationId xmlns:a16="http://schemas.microsoft.com/office/drawing/2014/main" id="{A777B5FC-69A2-5C43-90D5-A37BB84EFB5F}"/>
                  </a:ext>
                </a:extLst>
              </p:cNvPr>
              <p:cNvSpPr/>
              <p:nvPr/>
            </p:nvSpPr>
            <p:spPr>
              <a:xfrm>
                <a:off x="62443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3" name="Rectangle 114">
                <a:extLst>
                  <a:ext uri="{FF2B5EF4-FFF2-40B4-BE49-F238E27FC236}">
                    <a16:creationId xmlns:a16="http://schemas.microsoft.com/office/drawing/2014/main" id="{2DC8600D-10C4-AB43-BD7C-BBB5E257FC41}"/>
                  </a:ext>
                </a:extLst>
              </p:cNvPr>
              <p:cNvSpPr/>
              <p:nvPr/>
            </p:nvSpPr>
            <p:spPr>
              <a:xfrm>
                <a:off x="54539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4" name="Rectangle 115">
                <a:extLst>
                  <a:ext uri="{FF2B5EF4-FFF2-40B4-BE49-F238E27FC236}">
                    <a16:creationId xmlns:a16="http://schemas.microsoft.com/office/drawing/2014/main" id="{5C809E49-DABA-1945-8285-E6E34B55B2AC}"/>
                  </a:ext>
                </a:extLst>
              </p:cNvPr>
              <p:cNvSpPr/>
              <p:nvPr/>
            </p:nvSpPr>
            <p:spPr>
              <a:xfrm>
                <a:off x="55856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5" name="Rectangle 116">
                <a:extLst>
                  <a:ext uri="{FF2B5EF4-FFF2-40B4-BE49-F238E27FC236}">
                    <a16:creationId xmlns:a16="http://schemas.microsoft.com/office/drawing/2014/main" id="{A18747B1-0388-0F4E-A0C8-DAA182E6B6F4}"/>
                  </a:ext>
                </a:extLst>
              </p:cNvPr>
              <p:cNvSpPr/>
              <p:nvPr/>
            </p:nvSpPr>
            <p:spPr>
              <a:xfrm>
                <a:off x="57174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6" name="Rectangle 117">
                <a:extLst>
                  <a:ext uri="{FF2B5EF4-FFF2-40B4-BE49-F238E27FC236}">
                    <a16:creationId xmlns:a16="http://schemas.microsoft.com/office/drawing/2014/main" id="{5638F26A-4662-B144-AAA9-F6CD8004A474}"/>
                  </a:ext>
                </a:extLst>
              </p:cNvPr>
              <p:cNvSpPr/>
              <p:nvPr/>
            </p:nvSpPr>
            <p:spPr>
              <a:xfrm>
                <a:off x="58491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7" name="Rectangle 118">
                <a:extLst>
                  <a:ext uri="{FF2B5EF4-FFF2-40B4-BE49-F238E27FC236}">
                    <a16:creationId xmlns:a16="http://schemas.microsoft.com/office/drawing/2014/main" id="{CA0F9EFA-076E-3A49-90C7-10D3990DC49C}"/>
                  </a:ext>
                </a:extLst>
              </p:cNvPr>
              <p:cNvSpPr/>
              <p:nvPr/>
            </p:nvSpPr>
            <p:spPr>
              <a:xfrm>
                <a:off x="59808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8" name="Rectangle 119">
                <a:extLst>
                  <a:ext uri="{FF2B5EF4-FFF2-40B4-BE49-F238E27FC236}">
                    <a16:creationId xmlns:a16="http://schemas.microsoft.com/office/drawing/2014/main" id="{44BFE803-CCA8-B442-A4DF-2B33771AC915}"/>
                  </a:ext>
                </a:extLst>
              </p:cNvPr>
              <p:cNvSpPr/>
              <p:nvPr/>
            </p:nvSpPr>
            <p:spPr>
              <a:xfrm>
                <a:off x="61125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9" name="Rectangle 106">
                <a:extLst>
                  <a:ext uri="{FF2B5EF4-FFF2-40B4-BE49-F238E27FC236}">
                    <a16:creationId xmlns:a16="http://schemas.microsoft.com/office/drawing/2014/main" id="{B18403F7-E345-004C-A64E-4FB25F064C7B}"/>
                  </a:ext>
                </a:extLst>
              </p:cNvPr>
              <p:cNvSpPr/>
              <p:nvPr/>
            </p:nvSpPr>
            <p:spPr>
              <a:xfrm>
                <a:off x="71663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0" name="Rectangle 107">
                <a:extLst>
                  <a:ext uri="{FF2B5EF4-FFF2-40B4-BE49-F238E27FC236}">
                    <a16:creationId xmlns:a16="http://schemas.microsoft.com/office/drawing/2014/main" id="{80C57D42-F5D6-944B-A068-BF2A66A9F7F2}"/>
                  </a:ext>
                </a:extLst>
              </p:cNvPr>
              <p:cNvSpPr/>
              <p:nvPr/>
            </p:nvSpPr>
            <p:spPr>
              <a:xfrm>
                <a:off x="637603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1" name="Rectangle 108">
                <a:extLst>
                  <a:ext uri="{FF2B5EF4-FFF2-40B4-BE49-F238E27FC236}">
                    <a16:creationId xmlns:a16="http://schemas.microsoft.com/office/drawing/2014/main" id="{20AE946C-C948-B742-AC31-950AF069C9C4}"/>
                  </a:ext>
                </a:extLst>
              </p:cNvPr>
              <p:cNvSpPr/>
              <p:nvPr/>
            </p:nvSpPr>
            <p:spPr>
              <a:xfrm>
                <a:off x="650776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2" name="Rectangle 109">
                <a:extLst>
                  <a:ext uri="{FF2B5EF4-FFF2-40B4-BE49-F238E27FC236}">
                    <a16:creationId xmlns:a16="http://schemas.microsoft.com/office/drawing/2014/main" id="{B3B7B021-1048-6C49-9621-3C49A85098A9}"/>
                  </a:ext>
                </a:extLst>
              </p:cNvPr>
              <p:cNvSpPr/>
              <p:nvPr/>
            </p:nvSpPr>
            <p:spPr>
              <a:xfrm>
                <a:off x="6639489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3" name="Rectangle 110">
                <a:extLst>
                  <a:ext uri="{FF2B5EF4-FFF2-40B4-BE49-F238E27FC236}">
                    <a16:creationId xmlns:a16="http://schemas.microsoft.com/office/drawing/2014/main" id="{F6E53141-A630-AB44-A8C1-A4559EB50288}"/>
                  </a:ext>
                </a:extLst>
              </p:cNvPr>
              <p:cNvSpPr/>
              <p:nvPr/>
            </p:nvSpPr>
            <p:spPr>
              <a:xfrm>
                <a:off x="6771214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4" name="Rectangle 111">
                <a:extLst>
                  <a:ext uri="{FF2B5EF4-FFF2-40B4-BE49-F238E27FC236}">
                    <a16:creationId xmlns:a16="http://schemas.microsoft.com/office/drawing/2014/main" id="{7F4C583D-CC5F-0B4B-BD7D-7003679456EB}"/>
                  </a:ext>
                </a:extLst>
              </p:cNvPr>
              <p:cNvSpPr/>
              <p:nvPr/>
            </p:nvSpPr>
            <p:spPr>
              <a:xfrm>
                <a:off x="69029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5" name="Rectangle 112">
                <a:extLst>
                  <a:ext uri="{FF2B5EF4-FFF2-40B4-BE49-F238E27FC236}">
                    <a16:creationId xmlns:a16="http://schemas.microsoft.com/office/drawing/2014/main" id="{6B13ACAF-D969-6341-9C84-3800841D5044}"/>
                  </a:ext>
                </a:extLst>
              </p:cNvPr>
              <p:cNvSpPr/>
              <p:nvPr/>
            </p:nvSpPr>
            <p:spPr>
              <a:xfrm>
                <a:off x="70346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6" name="Rectangle 99">
                <a:extLst>
                  <a:ext uri="{FF2B5EF4-FFF2-40B4-BE49-F238E27FC236}">
                    <a16:creationId xmlns:a16="http://schemas.microsoft.com/office/drawing/2014/main" id="{364DFA2B-2AE4-9041-BE59-13E4E41211E2}"/>
                  </a:ext>
                </a:extLst>
              </p:cNvPr>
              <p:cNvSpPr/>
              <p:nvPr/>
            </p:nvSpPr>
            <p:spPr>
              <a:xfrm>
                <a:off x="80884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7" name="Rectangle 100">
                <a:extLst>
                  <a:ext uri="{FF2B5EF4-FFF2-40B4-BE49-F238E27FC236}">
                    <a16:creationId xmlns:a16="http://schemas.microsoft.com/office/drawing/2014/main" id="{E37C8B5D-BA08-0F44-AFB2-E66D13FE8FBF}"/>
                  </a:ext>
                </a:extLst>
              </p:cNvPr>
              <p:cNvSpPr/>
              <p:nvPr/>
            </p:nvSpPr>
            <p:spPr>
              <a:xfrm>
                <a:off x="72981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8" name="Rectangle 101">
                <a:extLst>
                  <a:ext uri="{FF2B5EF4-FFF2-40B4-BE49-F238E27FC236}">
                    <a16:creationId xmlns:a16="http://schemas.microsoft.com/office/drawing/2014/main" id="{0AF14EAE-DD95-BC4F-8547-513EDEF603E7}"/>
                  </a:ext>
                </a:extLst>
              </p:cNvPr>
              <p:cNvSpPr/>
              <p:nvPr/>
            </p:nvSpPr>
            <p:spPr>
              <a:xfrm>
                <a:off x="74298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9" name="Rectangle 102">
                <a:extLst>
                  <a:ext uri="{FF2B5EF4-FFF2-40B4-BE49-F238E27FC236}">
                    <a16:creationId xmlns:a16="http://schemas.microsoft.com/office/drawing/2014/main" id="{53B8A8AA-4CD2-964D-95C1-A16D4831AB43}"/>
                  </a:ext>
                </a:extLst>
              </p:cNvPr>
              <p:cNvSpPr/>
              <p:nvPr/>
            </p:nvSpPr>
            <p:spPr>
              <a:xfrm>
                <a:off x="75615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0" name="Rectangle 103">
                <a:extLst>
                  <a:ext uri="{FF2B5EF4-FFF2-40B4-BE49-F238E27FC236}">
                    <a16:creationId xmlns:a16="http://schemas.microsoft.com/office/drawing/2014/main" id="{A5590619-1E8B-B142-BCCD-97F71F2833DE}"/>
                  </a:ext>
                </a:extLst>
              </p:cNvPr>
              <p:cNvSpPr/>
              <p:nvPr/>
            </p:nvSpPr>
            <p:spPr>
              <a:xfrm>
                <a:off x="76932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1" name="Rectangle 104">
                <a:extLst>
                  <a:ext uri="{FF2B5EF4-FFF2-40B4-BE49-F238E27FC236}">
                    <a16:creationId xmlns:a16="http://schemas.microsoft.com/office/drawing/2014/main" id="{2E10675C-50E6-2A4A-8F52-C6A188C5CD2A}"/>
                  </a:ext>
                </a:extLst>
              </p:cNvPr>
              <p:cNvSpPr/>
              <p:nvPr/>
            </p:nvSpPr>
            <p:spPr>
              <a:xfrm>
                <a:off x="78250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2" name="Rectangle 105">
                <a:extLst>
                  <a:ext uri="{FF2B5EF4-FFF2-40B4-BE49-F238E27FC236}">
                    <a16:creationId xmlns:a16="http://schemas.microsoft.com/office/drawing/2014/main" id="{B9EE1141-319E-D144-8F29-20DF3596740D}"/>
                  </a:ext>
                </a:extLst>
              </p:cNvPr>
              <p:cNvSpPr/>
              <p:nvPr/>
            </p:nvSpPr>
            <p:spPr>
              <a:xfrm>
                <a:off x="79567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3" name="Rectangle 92">
                <a:extLst>
                  <a:ext uri="{FF2B5EF4-FFF2-40B4-BE49-F238E27FC236}">
                    <a16:creationId xmlns:a16="http://schemas.microsoft.com/office/drawing/2014/main" id="{C2094F3C-6CA3-BC43-A81D-F1844E5A5522}"/>
                  </a:ext>
                </a:extLst>
              </p:cNvPr>
              <p:cNvSpPr/>
              <p:nvPr/>
            </p:nvSpPr>
            <p:spPr>
              <a:xfrm>
                <a:off x="90105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4" name="Rectangle 93">
                <a:extLst>
                  <a:ext uri="{FF2B5EF4-FFF2-40B4-BE49-F238E27FC236}">
                    <a16:creationId xmlns:a16="http://schemas.microsoft.com/office/drawing/2014/main" id="{C2D1335C-EA76-FC46-8199-C5DE42824D8C}"/>
                  </a:ext>
                </a:extLst>
              </p:cNvPr>
              <p:cNvSpPr/>
              <p:nvPr/>
            </p:nvSpPr>
            <p:spPr>
              <a:xfrm>
                <a:off x="82201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5" name="Rectangle 94">
                <a:extLst>
                  <a:ext uri="{FF2B5EF4-FFF2-40B4-BE49-F238E27FC236}">
                    <a16:creationId xmlns:a16="http://schemas.microsoft.com/office/drawing/2014/main" id="{858DF7BF-C860-D048-8218-228FBAFB2514}"/>
                  </a:ext>
                </a:extLst>
              </p:cNvPr>
              <p:cNvSpPr/>
              <p:nvPr/>
            </p:nvSpPr>
            <p:spPr>
              <a:xfrm>
                <a:off x="83519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6" name="Rectangle 95">
                <a:extLst>
                  <a:ext uri="{FF2B5EF4-FFF2-40B4-BE49-F238E27FC236}">
                    <a16:creationId xmlns:a16="http://schemas.microsoft.com/office/drawing/2014/main" id="{959B52AB-B61D-E74C-A395-82490E4669B1}"/>
                  </a:ext>
                </a:extLst>
              </p:cNvPr>
              <p:cNvSpPr/>
              <p:nvPr/>
            </p:nvSpPr>
            <p:spPr>
              <a:xfrm>
                <a:off x="848364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7" name="Rectangle 96">
                <a:extLst>
                  <a:ext uri="{FF2B5EF4-FFF2-40B4-BE49-F238E27FC236}">
                    <a16:creationId xmlns:a16="http://schemas.microsoft.com/office/drawing/2014/main" id="{B3ACBA9D-8EA3-AE4D-B60F-4210B14E8D54}"/>
                  </a:ext>
                </a:extLst>
              </p:cNvPr>
              <p:cNvSpPr/>
              <p:nvPr/>
            </p:nvSpPr>
            <p:spPr>
              <a:xfrm>
                <a:off x="86153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8" name="Rectangle 97">
                <a:extLst>
                  <a:ext uri="{FF2B5EF4-FFF2-40B4-BE49-F238E27FC236}">
                    <a16:creationId xmlns:a16="http://schemas.microsoft.com/office/drawing/2014/main" id="{1C815CDD-976E-734D-9D06-1BF0AA0AFD3D}"/>
                  </a:ext>
                </a:extLst>
              </p:cNvPr>
              <p:cNvSpPr/>
              <p:nvPr/>
            </p:nvSpPr>
            <p:spPr>
              <a:xfrm>
                <a:off x="87470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9" name="Rectangle 98">
                <a:extLst>
                  <a:ext uri="{FF2B5EF4-FFF2-40B4-BE49-F238E27FC236}">
                    <a16:creationId xmlns:a16="http://schemas.microsoft.com/office/drawing/2014/main" id="{98703CCD-0924-F042-9303-AE97420E022E}"/>
                  </a:ext>
                </a:extLst>
              </p:cNvPr>
              <p:cNvSpPr/>
              <p:nvPr/>
            </p:nvSpPr>
            <p:spPr>
              <a:xfrm>
                <a:off x="88788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0" name="Rectangle 73">
                <a:extLst>
                  <a:ext uri="{FF2B5EF4-FFF2-40B4-BE49-F238E27FC236}">
                    <a16:creationId xmlns:a16="http://schemas.microsoft.com/office/drawing/2014/main" id="{7C296C25-704A-A943-B068-1C381C127775}"/>
                  </a:ext>
                </a:extLst>
              </p:cNvPr>
              <p:cNvSpPr/>
              <p:nvPr/>
            </p:nvSpPr>
            <p:spPr>
              <a:xfrm>
                <a:off x="9932616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1" name="Rectangle 74">
                <a:extLst>
                  <a:ext uri="{FF2B5EF4-FFF2-40B4-BE49-F238E27FC236}">
                    <a16:creationId xmlns:a16="http://schemas.microsoft.com/office/drawing/2014/main" id="{37871D7D-3E37-4E41-A56C-C55E6625E40E}"/>
                  </a:ext>
                </a:extLst>
              </p:cNvPr>
              <p:cNvSpPr/>
              <p:nvPr/>
            </p:nvSpPr>
            <p:spPr>
              <a:xfrm>
                <a:off x="914226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2" name="Rectangle 76">
                <a:extLst>
                  <a:ext uri="{FF2B5EF4-FFF2-40B4-BE49-F238E27FC236}">
                    <a16:creationId xmlns:a16="http://schemas.microsoft.com/office/drawing/2014/main" id="{D73E3E37-E040-2240-8008-9C58F63D0F41}"/>
                  </a:ext>
                </a:extLst>
              </p:cNvPr>
              <p:cNvSpPr/>
              <p:nvPr/>
            </p:nvSpPr>
            <p:spPr>
              <a:xfrm>
                <a:off x="9273990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3" name="Rectangle 77">
                <a:extLst>
                  <a:ext uri="{FF2B5EF4-FFF2-40B4-BE49-F238E27FC236}">
                    <a16:creationId xmlns:a16="http://schemas.microsoft.com/office/drawing/2014/main" id="{55753BFC-ADDE-824D-9C0E-38E312C929ED}"/>
                  </a:ext>
                </a:extLst>
              </p:cNvPr>
              <p:cNvSpPr/>
              <p:nvPr/>
            </p:nvSpPr>
            <p:spPr>
              <a:xfrm>
                <a:off x="9405715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4" name="Rectangle 79">
                <a:extLst>
                  <a:ext uri="{FF2B5EF4-FFF2-40B4-BE49-F238E27FC236}">
                    <a16:creationId xmlns:a16="http://schemas.microsoft.com/office/drawing/2014/main" id="{C404B236-95CD-674C-8202-F178207423FC}"/>
                  </a:ext>
                </a:extLst>
              </p:cNvPr>
              <p:cNvSpPr/>
              <p:nvPr/>
            </p:nvSpPr>
            <p:spPr>
              <a:xfrm>
                <a:off x="9537441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5" name="Rectangle 80">
                <a:extLst>
                  <a:ext uri="{FF2B5EF4-FFF2-40B4-BE49-F238E27FC236}">
                    <a16:creationId xmlns:a16="http://schemas.microsoft.com/office/drawing/2014/main" id="{46D48B33-4E1B-7F4E-8244-1CD691DE5759}"/>
                  </a:ext>
                </a:extLst>
              </p:cNvPr>
              <p:cNvSpPr/>
              <p:nvPr/>
            </p:nvSpPr>
            <p:spPr>
              <a:xfrm>
                <a:off x="9669166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6" name="Rectangle 86">
                <a:extLst>
                  <a:ext uri="{FF2B5EF4-FFF2-40B4-BE49-F238E27FC236}">
                    <a16:creationId xmlns:a16="http://schemas.microsoft.com/office/drawing/2014/main" id="{FECF75A0-EBC9-084B-9752-3EDCCC5AC5E2}"/>
                  </a:ext>
                </a:extLst>
              </p:cNvPr>
              <p:cNvSpPr/>
              <p:nvPr/>
            </p:nvSpPr>
            <p:spPr>
              <a:xfrm>
                <a:off x="9800891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7" name="Rectangle 87">
                <a:extLst>
                  <a:ext uri="{FF2B5EF4-FFF2-40B4-BE49-F238E27FC236}">
                    <a16:creationId xmlns:a16="http://schemas.microsoft.com/office/drawing/2014/main" id="{BF52DA8F-6CC7-8C42-A204-91EB0D3A6E33}"/>
                  </a:ext>
                </a:extLst>
              </p:cNvPr>
              <p:cNvSpPr/>
              <p:nvPr/>
            </p:nvSpPr>
            <p:spPr>
              <a:xfrm>
                <a:off x="10064331" y="5181514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8" name="Rectangle 88">
                <a:extLst>
                  <a:ext uri="{FF2B5EF4-FFF2-40B4-BE49-F238E27FC236}">
                    <a16:creationId xmlns:a16="http://schemas.microsoft.com/office/drawing/2014/main" id="{18CA477B-79F6-0049-AE0A-60E5235D8BB5}"/>
                  </a:ext>
                </a:extLst>
              </p:cNvPr>
              <p:cNvSpPr/>
              <p:nvPr/>
            </p:nvSpPr>
            <p:spPr>
              <a:xfrm>
                <a:off x="9932607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49" name="Rectangle 89">
                <a:extLst>
                  <a:ext uri="{FF2B5EF4-FFF2-40B4-BE49-F238E27FC236}">
                    <a16:creationId xmlns:a16="http://schemas.microsoft.com/office/drawing/2014/main" id="{5686CC48-EB03-0E45-8870-BB97D150A1D5}"/>
                  </a:ext>
                </a:extLst>
              </p:cNvPr>
              <p:cNvSpPr/>
              <p:nvPr/>
            </p:nvSpPr>
            <p:spPr>
              <a:xfrm>
                <a:off x="10064331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0" name="Rectangle 90">
                <a:extLst>
                  <a:ext uri="{FF2B5EF4-FFF2-40B4-BE49-F238E27FC236}">
                    <a16:creationId xmlns:a16="http://schemas.microsoft.com/office/drawing/2014/main" id="{3A4DA588-FA57-EC4D-9CCE-35F43B684FFA}"/>
                  </a:ext>
                </a:extLst>
              </p:cNvPr>
              <p:cNvSpPr/>
              <p:nvPr/>
            </p:nvSpPr>
            <p:spPr>
              <a:xfrm>
                <a:off x="9669163" y="4912882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1" name="Rectangle 91">
                <a:extLst>
                  <a:ext uri="{FF2B5EF4-FFF2-40B4-BE49-F238E27FC236}">
                    <a16:creationId xmlns:a16="http://schemas.microsoft.com/office/drawing/2014/main" id="{86592898-0932-4941-BF86-6C1722F243AC}"/>
                  </a:ext>
                </a:extLst>
              </p:cNvPr>
              <p:cNvSpPr/>
              <p:nvPr/>
            </p:nvSpPr>
            <p:spPr>
              <a:xfrm>
                <a:off x="9932607" y="4912882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2" name="Rectangle 64">
                <a:extLst>
                  <a:ext uri="{FF2B5EF4-FFF2-40B4-BE49-F238E27FC236}">
                    <a16:creationId xmlns:a16="http://schemas.microsoft.com/office/drawing/2014/main" id="{4E0C94AE-AB2F-BE4F-96C9-22B108E8887D}"/>
                  </a:ext>
                </a:extLst>
              </p:cNvPr>
              <p:cNvSpPr/>
              <p:nvPr/>
            </p:nvSpPr>
            <p:spPr>
              <a:xfrm>
                <a:off x="9800885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3" name="Rectangle 65">
                <a:extLst>
                  <a:ext uri="{FF2B5EF4-FFF2-40B4-BE49-F238E27FC236}">
                    <a16:creationId xmlns:a16="http://schemas.microsoft.com/office/drawing/2014/main" id="{0F90B619-1A5F-534E-A322-9D1D515DC00E}"/>
                  </a:ext>
                </a:extLst>
              </p:cNvPr>
              <p:cNvSpPr/>
              <p:nvPr/>
            </p:nvSpPr>
            <p:spPr>
              <a:xfrm>
                <a:off x="8615365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4" name="Rectangle 66">
                <a:extLst>
                  <a:ext uri="{FF2B5EF4-FFF2-40B4-BE49-F238E27FC236}">
                    <a16:creationId xmlns:a16="http://schemas.microsoft.com/office/drawing/2014/main" id="{E38D0DCB-6D84-2846-9D64-E2BD67721D8E}"/>
                  </a:ext>
                </a:extLst>
              </p:cNvPr>
              <p:cNvSpPr/>
              <p:nvPr/>
            </p:nvSpPr>
            <p:spPr>
              <a:xfrm>
                <a:off x="8747090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5" name="Rectangle 67">
                <a:extLst>
                  <a:ext uri="{FF2B5EF4-FFF2-40B4-BE49-F238E27FC236}">
                    <a16:creationId xmlns:a16="http://schemas.microsoft.com/office/drawing/2014/main" id="{5EAEBBA5-F0C8-0442-B570-02360A6F4149}"/>
                  </a:ext>
                </a:extLst>
              </p:cNvPr>
              <p:cNvSpPr/>
              <p:nvPr/>
            </p:nvSpPr>
            <p:spPr>
              <a:xfrm>
                <a:off x="8878815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6" name="Rectangle 68">
                <a:extLst>
                  <a:ext uri="{FF2B5EF4-FFF2-40B4-BE49-F238E27FC236}">
                    <a16:creationId xmlns:a16="http://schemas.microsoft.com/office/drawing/2014/main" id="{BEC9B70B-D7F4-5145-9B96-00BC651D9543}"/>
                  </a:ext>
                </a:extLst>
              </p:cNvPr>
              <p:cNvSpPr/>
              <p:nvPr/>
            </p:nvSpPr>
            <p:spPr>
              <a:xfrm>
                <a:off x="9010540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7" name="Rectangle 69">
                <a:extLst>
                  <a:ext uri="{FF2B5EF4-FFF2-40B4-BE49-F238E27FC236}">
                    <a16:creationId xmlns:a16="http://schemas.microsoft.com/office/drawing/2014/main" id="{D36AEC05-D7C5-C44F-9F2A-DA2DA4F567EC}"/>
                  </a:ext>
                </a:extLst>
              </p:cNvPr>
              <p:cNvSpPr/>
              <p:nvPr/>
            </p:nvSpPr>
            <p:spPr>
              <a:xfrm>
                <a:off x="9537441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8" name="Rectangle 70">
                <a:extLst>
                  <a:ext uri="{FF2B5EF4-FFF2-40B4-BE49-F238E27FC236}">
                    <a16:creationId xmlns:a16="http://schemas.microsoft.com/office/drawing/2014/main" id="{DB667382-9FE7-2A4F-91E5-22D791F8B389}"/>
                  </a:ext>
                </a:extLst>
              </p:cNvPr>
              <p:cNvSpPr/>
              <p:nvPr/>
            </p:nvSpPr>
            <p:spPr>
              <a:xfrm>
                <a:off x="9669163" y="5047197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59" name="Rectangle 71">
                <a:extLst>
                  <a:ext uri="{FF2B5EF4-FFF2-40B4-BE49-F238E27FC236}">
                    <a16:creationId xmlns:a16="http://schemas.microsoft.com/office/drawing/2014/main" id="{DD2E6C43-8D70-084D-AABF-64D53FC39634}"/>
                  </a:ext>
                </a:extLst>
              </p:cNvPr>
              <p:cNvSpPr/>
              <p:nvPr/>
            </p:nvSpPr>
            <p:spPr>
              <a:xfrm>
                <a:off x="8747090" y="4912882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60" name="Rectangle 72">
                <a:extLst>
                  <a:ext uri="{FF2B5EF4-FFF2-40B4-BE49-F238E27FC236}">
                    <a16:creationId xmlns:a16="http://schemas.microsoft.com/office/drawing/2014/main" id="{77BFED58-2101-6949-8ECB-A54432876485}"/>
                  </a:ext>
                </a:extLst>
              </p:cNvPr>
              <p:cNvSpPr/>
              <p:nvPr/>
            </p:nvSpPr>
            <p:spPr>
              <a:xfrm>
                <a:off x="8878815" y="4912882"/>
                <a:ext cx="106924" cy="106924"/>
              </a:xfrm>
              <a:prstGeom prst="rect">
                <a:avLst/>
              </a:prstGeom>
              <a:gradFill>
                <a:gsLst>
                  <a:gs pos="51000">
                    <a:schemeClr val="bg1">
                      <a:alpha val="15000"/>
                    </a:schemeClr>
                  </a:gs>
                  <a:gs pos="9000">
                    <a:schemeClr val="bg1">
                      <a:alpha val="10000"/>
                    </a:schemeClr>
                  </a:gs>
                </a:gsLst>
                <a:lin ang="5400000" scaled="0"/>
              </a:gradFill>
              <a:ln w="25400" algn="ctr">
                <a:noFill/>
                <a:miter lim="800000"/>
                <a:headEnd/>
                <a:tailEnd/>
              </a:ln>
              <a:effectLst>
                <a:glow rad="177800">
                  <a:schemeClr val="bg1">
                    <a:alpha val="0"/>
                  </a:schemeClr>
                </a:glow>
                <a:outerShdw dist="50800" sx="1000" sy="1000" algn="ctr" rotWithShape="0">
                  <a:schemeClr val="bg1"/>
                </a:outerShdw>
                <a:reflection endPos="0" dist="50800" dir="5400000" sy="-100000" algn="bl" rotWithShape="0"/>
              </a:effectLst>
            </p:spPr>
            <p:txBody>
              <a:bodyPr lIns="89931" tIns="71943" rIns="89931" bIns="71943" rtlCol="0" anchor="ctr"/>
              <a:lstStyle/>
              <a:p>
                <a:pPr marL="0" marR="0" lvl="0" indent="0" algn="ctr" defTabSz="913578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buFontTx/>
                  <a:buNone/>
                  <a:tabLst/>
                  <a:defRPr/>
                </a:pPr>
                <a:endParaRPr kumimoji="0" lang="en-DE" sz="179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</p:grpSp>
      <p:sp>
        <p:nvSpPr>
          <p:cNvPr id="267" name="Pentagon 73">
            <a:extLst>
              <a:ext uri="{FF2B5EF4-FFF2-40B4-BE49-F238E27FC236}">
                <a16:creationId xmlns:a16="http://schemas.microsoft.com/office/drawing/2014/main" id="{D6FED97E-7578-7847-BD18-E026E8B445BF}"/>
              </a:ext>
            </a:extLst>
          </p:cNvPr>
          <p:cNvSpPr/>
          <p:nvPr/>
        </p:nvSpPr>
        <p:spPr bwMode="gray">
          <a:xfrm>
            <a:off x="8078974" y="3962114"/>
            <a:ext cx="3902798" cy="996971"/>
          </a:xfrm>
          <a:prstGeom prst="homePlate">
            <a:avLst>
              <a:gd name="adj" fmla="val 33465"/>
            </a:avLst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9908" tIns="71924" rIns="89908" bIns="71924" rtlCol="0" anchor="ctr"/>
          <a:lstStyle/>
          <a:p>
            <a:pPr marL="171450" marR="0" lvl="0" indent="-171450" algn="l" defTabSz="91330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  <a:t>Process insights enable faster optimization</a:t>
            </a:r>
          </a:p>
          <a:p>
            <a:pPr marL="171450" marR="0" lvl="0" indent="-171450" algn="l" defTabSz="91330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  <a:t>Assign improvements on sub-process level with process performance indicators (PPI) to key performance indicators (KPI), benchmark, and monitor</a:t>
            </a:r>
          </a:p>
          <a:p>
            <a:pPr marL="171450" marR="0" lvl="0" indent="-171450" algn="l" defTabSz="91330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8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  <a:t>Continuous experience management on improved process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Arial" panose="020B0604020202020204" pitchFamily="34" charset="0"/>
              </a:rPr>
              <a:t>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E0D85-5392-4B49-8439-7BFD3E81C754}"/>
              </a:ext>
            </a:extLst>
          </p:cNvPr>
          <p:cNvSpPr txBox="1"/>
          <p:nvPr/>
        </p:nvSpPr>
        <p:spPr>
          <a:xfrm>
            <a:off x="517825" y="1617327"/>
            <a:ext cx="332142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DE" sz="18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Business process intelligenc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BCB2AF9-5AA2-411E-8CCC-086B67EC6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1046440"/>
          </a:xfrm>
        </p:spPr>
        <p:txBody>
          <a:bodyPr/>
          <a:lstStyle/>
          <a:p>
            <a:r>
              <a:rPr lang="en-US" dirty="0"/>
              <a:t>The end-to-end value of business process intelligence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From process insights and customer experience to process automation and improvement</a:t>
            </a:r>
            <a:br>
              <a:rPr lang="en-US" dirty="0"/>
            </a:br>
            <a:endParaRPr lang="de-DE" dirty="0"/>
          </a:p>
        </p:txBody>
      </p:sp>
      <p:pic>
        <p:nvPicPr>
          <p:cNvPr id="286" name="Picture 2" descr="SAP to Acquire Business Process Intelligence Company Signavio">
            <a:extLst>
              <a:ext uri="{FF2B5EF4-FFF2-40B4-BE49-F238E27FC236}">
                <a16:creationId xmlns:a16="http://schemas.microsoft.com/office/drawing/2014/main" id="{D0BF4D6E-3E36-6643-B149-1443F5AB27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968" y="2896830"/>
            <a:ext cx="832566" cy="46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7" name="Picture 4" descr="Upgrading the SAP Customer and Operations Lifecycle | Signavio">
            <a:extLst>
              <a:ext uri="{FF2B5EF4-FFF2-40B4-BE49-F238E27FC236}">
                <a16:creationId xmlns:a16="http://schemas.microsoft.com/office/drawing/2014/main" id="{E4C7FBFC-0ECE-7846-94A9-5F5D12B50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803" y="2737646"/>
            <a:ext cx="651758" cy="32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115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7EA4B837-1638-40E8-BEA5-5A83C1638C0B}"/>
              </a:ext>
            </a:extLst>
          </p:cNvPr>
          <p:cNvSpPr txBox="1">
            <a:spLocks/>
          </p:cNvSpPr>
          <p:nvPr/>
        </p:nvSpPr>
        <p:spPr>
          <a:xfrm>
            <a:off x="303355" y="2308227"/>
            <a:ext cx="65" cy="2688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9247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746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115D3EB-0A68-40B8-B7DB-E2BF5513DE00}"/>
              </a:ext>
            </a:extLst>
          </p:cNvPr>
          <p:cNvCxnSpPr>
            <a:cxnSpLocks/>
          </p:cNvCxnSpPr>
          <p:nvPr/>
        </p:nvCxnSpPr>
        <p:spPr>
          <a:xfrm>
            <a:off x="475387" y="1372596"/>
            <a:ext cx="4176510" cy="0"/>
          </a:xfrm>
          <a:prstGeom prst="straightConnector1">
            <a:avLst/>
          </a:prstGeom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730A83F8-0554-43FF-80D4-CC2E61DF6804}"/>
              </a:ext>
            </a:extLst>
          </p:cNvPr>
          <p:cNvSpPr>
            <a:spLocks/>
          </p:cNvSpPr>
          <p:nvPr/>
        </p:nvSpPr>
        <p:spPr>
          <a:xfrm>
            <a:off x="368823" y="4417440"/>
            <a:ext cx="4172659" cy="1433469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198564" defTabSz="905300">
              <a:lnSpc>
                <a:spcPct val="90000"/>
              </a:lnSpc>
              <a:spcBef>
                <a:spcPts val="499"/>
              </a:spcBef>
              <a:buClr>
                <a:srgbClr val="F0AB00"/>
              </a:buClr>
              <a:buSzPct val="80000"/>
              <a:buNone/>
              <a:defRPr/>
            </a:pPr>
            <a:r>
              <a:rPr lang="en-US" sz="1165" b="1" kern="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rial Unicode MS" pitchFamily="34" charset="-128"/>
              </a:rPr>
              <a:t>BUSINESS VALUE – BENEFITS</a:t>
            </a:r>
          </a:p>
          <a:p>
            <a:pPr marL="149697" indent="-149697" algn="just" defTabSz="760462" fontAlgn="base">
              <a:spcBef>
                <a:spcPts val="8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Reduction of manual effort to create purchase requisition by automating the process.</a:t>
            </a:r>
          </a:p>
          <a:p>
            <a:pPr marL="149697" indent="-149697" algn="just" defTabSz="76046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Reducing the scope of human errors creating erroneous records in system.</a:t>
            </a:r>
          </a:p>
          <a:p>
            <a:pPr marL="149697" indent="-149697" algn="just" defTabSz="76046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Optimize data quality and transparency by sending communication to  stakeholders.</a:t>
            </a:r>
          </a:p>
          <a:p>
            <a:pPr algn="just" defTabSz="76046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1000" dirty="0">
              <a:solidFill>
                <a:srgbClr val="32363A"/>
              </a:solidFill>
              <a:latin typeface="72" panose="020B0503030000000003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E54514F-32D0-4461-9D3F-5612A95B6643}"/>
              </a:ext>
            </a:extLst>
          </p:cNvPr>
          <p:cNvSpPr/>
          <p:nvPr/>
        </p:nvSpPr>
        <p:spPr>
          <a:xfrm>
            <a:off x="475387" y="1144296"/>
            <a:ext cx="5179712" cy="294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60462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999" kern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C1554CC-46E3-4445-A308-5262FFEA00E5}"/>
              </a:ext>
            </a:extLst>
          </p:cNvPr>
          <p:cNvSpPr>
            <a:spLocks/>
          </p:cNvSpPr>
          <p:nvPr/>
        </p:nvSpPr>
        <p:spPr>
          <a:xfrm>
            <a:off x="420217" y="1130413"/>
            <a:ext cx="4712214" cy="271613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60462" fontAlgn="base">
              <a:spcBef>
                <a:spcPct val="20000"/>
              </a:spcBef>
              <a:spcAft>
                <a:spcPct val="0"/>
              </a:spcAft>
              <a:buClr>
                <a:srgbClr val="0076CB"/>
              </a:buClr>
              <a:defRPr/>
            </a:pPr>
            <a:r>
              <a:rPr lang="en-US" sz="1165" b="1" kern="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rial" panose="020B0604020202020204" pitchFamily="34" charset="0"/>
              </a:rPr>
              <a:t>THE </a:t>
            </a:r>
            <a:r>
              <a:rPr lang="en-US" sz="1165" b="1" kern="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</a:rPr>
              <a:t>PROBLEM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68CAD7E1-6B6E-404A-A3B0-1E5F19F0AD2E}"/>
              </a:ext>
            </a:extLst>
          </p:cNvPr>
          <p:cNvCxnSpPr>
            <a:cxnSpLocks/>
          </p:cNvCxnSpPr>
          <p:nvPr/>
        </p:nvCxnSpPr>
        <p:spPr>
          <a:xfrm>
            <a:off x="475388" y="4659444"/>
            <a:ext cx="4010919" cy="0"/>
          </a:xfrm>
          <a:prstGeom prst="straightConnector1">
            <a:avLst/>
          </a:prstGeom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D2ED3CA-D6C1-4A2D-A878-FCF94166EC9B}"/>
              </a:ext>
            </a:extLst>
          </p:cNvPr>
          <p:cNvSpPr txBox="1">
            <a:spLocks/>
          </p:cNvSpPr>
          <p:nvPr/>
        </p:nvSpPr>
        <p:spPr>
          <a:xfrm>
            <a:off x="420217" y="1390966"/>
            <a:ext cx="4526910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/>
            <a:r>
              <a:rPr lang="en-US" sz="900">
                <a:solidFill>
                  <a:srgbClr val="32363A"/>
                </a:solidFill>
                <a:latin typeface="72" panose="020B0503030000000003" pitchFamily="34" charset="0"/>
              </a:rPr>
              <a:t>Often times</a:t>
            </a: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, companies have to deal with a high volume of purchase requisitions that need to be created in the system. Creating purchase requisitions manually is a tedious, monotonous and time consuming task which can easily be automated.</a:t>
            </a:r>
          </a:p>
          <a:p>
            <a:pPr lvl="0" algn="just"/>
            <a:endParaRPr lang="en-US" sz="1000" dirty="0">
              <a:solidFill>
                <a:srgbClr val="32363A"/>
              </a:solidFill>
              <a:latin typeface="72" panose="020B05030300000000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810D29-F142-43E6-BB0E-D616A9FB4CFC}"/>
              </a:ext>
            </a:extLst>
          </p:cNvPr>
          <p:cNvSpPr txBox="1"/>
          <p:nvPr/>
        </p:nvSpPr>
        <p:spPr>
          <a:xfrm>
            <a:off x="303355" y="4196728"/>
            <a:ext cx="65" cy="2688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9247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746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FDB2B4B-0884-402C-AD3F-A97DE4CCD0C1}"/>
              </a:ext>
            </a:extLst>
          </p:cNvPr>
          <p:cNvGrpSpPr/>
          <p:nvPr/>
        </p:nvGrpSpPr>
        <p:grpSpPr>
          <a:xfrm>
            <a:off x="324746" y="2146259"/>
            <a:ext cx="4304224" cy="1912106"/>
            <a:chOff x="258287" y="3676942"/>
            <a:chExt cx="4664838" cy="19121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A42071E-2DD2-4B80-B926-3E74E9C01EEB}"/>
                </a:ext>
              </a:extLst>
            </p:cNvPr>
            <p:cNvSpPr>
              <a:spLocks/>
            </p:cNvSpPr>
            <p:nvPr/>
          </p:nvSpPr>
          <p:spPr>
            <a:xfrm>
              <a:off x="366699" y="3676942"/>
              <a:ext cx="4289715" cy="451162"/>
            </a:xfrm>
            <a:prstGeom prst="rect">
              <a:avLst/>
            </a:prstGeom>
          </p:spPr>
          <p:txBody>
            <a:bodyPr wrap="square" anchor="t">
              <a:spAutoFit/>
            </a:bodyPr>
            <a:lstStyle>
              <a:defPPr>
                <a:defRPr lang="de-DE"/>
              </a:defPPr>
              <a:lvl1pPr marL="0" algn="l" defTabSz="1088776" rtl="0" eaLnBrk="1" latinLnBrk="0" hangingPunct="1">
                <a:defRPr lang="de-DE" sz="21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44388" algn="l" defTabSz="108877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1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088776" algn="l" defTabSz="108877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17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633164" algn="l" defTabSz="108877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177552" algn="l" defTabSz="108877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2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721940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66328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10716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5104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60462" fontAlgn="base">
                <a:spcBef>
                  <a:spcPct val="20000"/>
                </a:spcBef>
                <a:spcAft>
                  <a:spcPct val="0"/>
                </a:spcAft>
                <a:buClr>
                  <a:srgbClr val="0076CB"/>
                </a:buClr>
                <a:defRPr/>
              </a:pPr>
              <a:r>
                <a:rPr lang="en-US" sz="1165" b="1" kern="0" dirty="0">
                  <a:solidFill>
                    <a:schemeClr val="bg2">
                      <a:lumMod val="50000"/>
                    </a:schemeClr>
                  </a:solidFill>
                  <a:latin typeface="Arial Black" panose="020B0A04020102020204" pitchFamily="34" charset="0"/>
                  <a:ea typeface="Arial Unicode MS" pitchFamily="34" charset="-128"/>
                  <a:cs typeface="Arial Unicode MS" pitchFamily="34" charset="-128"/>
                </a:rPr>
                <a:t>BOT SKILL DESCRIPTION</a:t>
              </a:r>
              <a:br>
                <a:rPr lang="en-US" sz="1165" b="1" kern="0" dirty="0">
                  <a:solidFill>
                    <a:srgbClr val="E6A400"/>
                  </a:solidFill>
                  <a:latin typeface="Arial Black" pitchFamily="34" charset="0"/>
                  <a:ea typeface="Arial Unicode MS" pitchFamily="34" charset="-128"/>
                  <a:cs typeface="Arial Unicode MS" pitchFamily="34" charset="-128"/>
                </a:rPr>
              </a:br>
              <a:endParaRPr lang="en-US" sz="1165" b="1" kern="0" dirty="0">
                <a:solidFill>
                  <a:srgbClr val="E6A400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C2AF366-313E-D342-A576-F28FD6C9A8C9}"/>
                </a:ext>
              </a:extLst>
            </p:cNvPr>
            <p:cNvSpPr>
              <a:spLocks/>
            </p:cNvSpPr>
            <p:nvPr/>
          </p:nvSpPr>
          <p:spPr>
            <a:xfrm>
              <a:off x="258287" y="3942443"/>
              <a:ext cx="4556850" cy="164660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Input : Users provide the purchase requisition details in the excel template file.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reads the input data for purchase requisition from the excel template file and creates the purchase requisition in S/4HANA Cloud. 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records the purchase requisition number of the created purchase requisitions in the excel output file. 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sends a communication email to the recipient with status and output file.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’s log report is compiled and stored in the success and error folders based on Bot status.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CD754E57-56D9-4997-B276-3FD397AB97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1647" y="3924351"/>
              <a:ext cx="4471478" cy="9378"/>
            </a:xfrm>
            <a:prstGeom prst="straightConnector1">
              <a:avLst/>
            </a:prstGeom>
            <a:ln w="6350" cap="flat" cmpd="sng" algn="ctr">
              <a:solidFill>
                <a:schemeClr val="tx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1232BB5-E36D-46CB-9118-6D2912C8F2AD}"/>
              </a:ext>
            </a:extLst>
          </p:cNvPr>
          <p:cNvSpPr>
            <a:spLocks/>
          </p:cNvSpPr>
          <p:nvPr/>
        </p:nvSpPr>
        <p:spPr>
          <a:xfrm>
            <a:off x="475387" y="3029574"/>
            <a:ext cx="4712214" cy="2991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60462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999" kern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7A0538-7C23-4519-98A4-79C94987FA9D}"/>
              </a:ext>
            </a:extLst>
          </p:cNvPr>
          <p:cNvSpPr txBox="1">
            <a:spLocks/>
          </p:cNvSpPr>
          <p:nvPr/>
        </p:nvSpPr>
        <p:spPr>
          <a:xfrm>
            <a:off x="258158" y="363318"/>
            <a:ext cx="759208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NL"/>
            </a:defPPr>
            <a:lvl1pPr>
              <a:defRPr sz="1600" b="1" kern="0">
                <a:solidFill>
                  <a:srgbClr val="E6A400"/>
                </a:solidFill>
                <a:latin typeface="Arial Black" pitchFamily="34" charset="0"/>
                <a:ea typeface="Arial Unicode MS" pitchFamily="34" charset="-128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cs typeface="Arial" panose="020B0604020202020204" pitchFamily="34" charset="0"/>
              </a:rPr>
              <a:t>Create Purchase Requisitions from Excel (48M)</a:t>
            </a:r>
            <a:endParaRPr lang="de-DE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1F37FB4-357C-4D4B-9114-BBEA44DF31E2}"/>
              </a:ext>
            </a:extLst>
          </p:cNvPr>
          <p:cNvSpPr txBox="1"/>
          <p:nvPr/>
        </p:nvSpPr>
        <p:spPr>
          <a:xfrm>
            <a:off x="303355" y="762296"/>
            <a:ext cx="663881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760462" fontAlgn="base">
              <a:spcBef>
                <a:spcPct val="20000"/>
              </a:spcBef>
              <a:spcAft>
                <a:spcPct val="0"/>
              </a:spcAft>
              <a:buClr>
                <a:srgbClr val="0076CB"/>
              </a:buClr>
              <a:defRPr/>
            </a:pPr>
            <a:r>
              <a:rPr lang="en-US" sz="1200" kern="0" dirty="0">
                <a:latin typeface="Arial Black" panose="020B0A04020102020204" pitchFamily="34" charset="0"/>
                <a:ea typeface="Arial Unicode MS" pitchFamily="34" charset="-128"/>
                <a:cs typeface="Arial" panose="020B0604020202020204" pitchFamily="34" charset="0"/>
              </a:rPr>
              <a:t>Bot Capability and Feature Highlight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DD6B219-6BC2-45CF-BC89-1A393BF9CC55}"/>
              </a:ext>
            </a:extLst>
          </p:cNvPr>
          <p:cNvGrpSpPr/>
          <p:nvPr/>
        </p:nvGrpSpPr>
        <p:grpSpPr>
          <a:xfrm>
            <a:off x="5168967" y="1094572"/>
            <a:ext cx="6166788" cy="5091745"/>
            <a:chOff x="5169070" y="1506221"/>
            <a:chExt cx="6413884" cy="5362942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493FD038-C823-4954-BD0C-5EB39F4A6F92}"/>
                </a:ext>
              </a:extLst>
            </p:cNvPr>
            <p:cNvGrpSpPr/>
            <p:nvPr/>
          </p:nvGrpSpPr>
          <p:grpSpPr>
            <a:xfrm>
              <a:off x="5243236" y="2732734"/>
              <a:ext cx="1032960" cy="1771736"/>
              <a:chOff x="9034999" y="5195256"/>
              <a:chExt cx="975908" cy="1772196"/>
            </a:xfrm>
          </p:grpSpPr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6837323F-8404-45BF-A8A2-8CF4709EBAC6}"/>
                  </a:ext>
                </a:extLst>
              </p:cNvPr>
              <p:cNvSpPr txBox="1">
                <a:spLocks/>
              </p:cNvSpPr>
              <p:nvPr/>
            </p:nvSpPr>
            <p:spPr>
              <a:xfrm rot="16200000">
                <a:off x="9708536" y="6665080"/>
                <a:ext cx="162126" cy="442617"/>
              </a:xfrm>
              <a:prstGeom prst="rect">
                <a:avLst/>
              </a:prstGeom>
              <a:noFill/>
            </p:spPr>
            <p:txBody>
              <a:bodyPr vert="eaVert" wrap="none" lIns="0" tIns="0" rIns="0" bIns="0" rtlCol="0">
                <a:spAutoFit/>
              </a:bodyPr>
              <a:lstStyle/>
              <a:p>
                <a:pPr defTabSz="1088449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r>
                  <a:rPr lang="en-US" sz="1000" kern="0" dirty="0">
                    <a:solidFill>
                      <a:srgbClr val="000000"/>
                    </a:solidFill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rPr>
                  <a:t>48M Bot</a:t>
                </a:r>
              </a:p>
            </p:txBody>
          </p:sp>
          <p:pic>
            <p:nvPicPr>
              <p:cNvPr id="188" name="Picture 187">
                <a:extLst>
                  <a:ext uri="{FF2B5EF4-FFF2-40B4-BE49-F238E27FC236}">
                    <a16:creationId xmlns:a16="http://schemas.microsoft.com/office/drawing/2014/main" id="{EF62B9D9-0934-4365-A6DC-C82AC8D554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034999" y="5195256"/>
                <a:ext cx="762661" cy="762661"/>
              </a:xfrm>
              <a:prstGeom prst="rect">
                <a:avLst/>
              </a:prstGeom>
            </p:spPr>
          </p:pic>
        </p:grp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9F96D412-4E83-4FEF-BBFC-026299B1A693}"/>
                </a:ext>
              </a:extLst>
            </p:cNvPr>
            <p:cNvSpPr/>
            <p:nvPr/>
          </p:nvSpPr>
          <p:spPr bwMode="gray">
            <a:xfrm>
              <a:off x="5212592" y="2239582"/>
              <a:ext cx="4775440" cy="167629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US" sz="2399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9F93DD0A-F42F-450A-8589-BAC2E4E833F1}"/>
                </a:ext>
              </a:extLst>
            </p:cNvPr>
            <p:cNvSpPr txBox="1"/>
            <p:nvPr/>
          </p:nvSpPr>
          <p:spPr>
            <a:xfrm>
              <a:off x="5169070" y="1506221"/>
              <a:ext cx="6413884" cy="1945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Arial Unicode MS" pitchFamily="34" charset="-128"/>
                  <a:cs typeface="Arial" panose="020B0604020202020204" pitchFamily="34" charset="0"/>
                </a:rPr>
                <a:t>SAP Process Automation to Create Purchase Requisition from Excel with Bot- 48M</a:t>
              </a:r>
            </a:p>
          </p:txBody>
        </p:sp>
        <p:pic>
          <p:nvPicPr>
            <p:cNvPr id="191" name="Picture 35">
              <a:extLst>
                <a:ext uri="{FF2B5EF4-FFF2-40B4-BE49-F238E27FC236}">
                  <a16:creationId xmlns:a16="http://schemas.microsoft.com/office/drawing/2014/main" id="{27569DEB-0356-4476-9F22-2FDA962C7C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29340" y="4606242"/>
              <a:ext cx="289889" cy="262128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AF19944C-C084-4AF2-87A7-85C2FAE9C3F5}"/>
                </a:ext>
              </a:extLst>
            </p:cNvPr>
            <p:cNvSpPr txBox="1">
              <a:spLocks/>
            </p:cNvSpPr>
            <p:nvPr/>
          </p:nvSpPr>
          <p:spPr>
            <a:xfrm>
              <a:off x="6678528" y="6334284"/>
              <a:ext cx="2823099" cy="534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NL"/>
              </a:defPPr>
              <a:lvl1pPr>
                <a:defRPr sz="900">
                  <a:solidFill>
                    <a:schemeClr val="accent5"/>
                  </a:solidFill>
                </a:defRPr>
              </a:lvl1pPr>
            </a:lstStyle>
            <a:p>
              <a:r>
                <a:rPr lang="en-US" dirty="0">
                  <a:solidFill>
                    <a:srgbClr val="333333"/>
                  </a:solidFill>
                  <a:latin typeface="72" panose="020B0503030000000003" pitchFamily="34" charset="0"/>
                </a:rPr>
                <a:t>Purchaser give the </a:t>
              </a:r>
              <a:r>
                <a:rPr lang="en-US" b="1" dirty="0">
                  <a:solidFill>
                    <a:srgbClr val="333333"/>
                  </a:solidFill>
                  <a:latin typeface="72" panose="020B0503030000000003" pitchFamily="34" charset="0"/>
                </a:rPr>
                <a:t>Purchase Requisition</a:t>
              </a:r>
              <a:r>
                <a:rPr lang="en-US" dirty="0">
                  <a:solidFill>
                    <a:srgbClr val="333333"/>
                  </a:solidFill>
                  <a:latin typeface="72" panose="020B0503030000000003" pitchFamily="34" charset="0"/>
                </a:rPr>
                <a:t> details as an input to the Bot by compiling them into one Excel file template</a:t>
              </a:r>
            </a:p>
          </p:txBody>
        </p:sp>
        <p:pic>
          <p:nvPicPr>
            <p:cNvPr id="197" name="Picture 196">
              <a:extLst>
                <a:ext uri="{FF2B5EF4-FFF2-40B4-BE49-F238E27FC236}">
                  <a16:creationId xmlns:a16="http://schemas.microsoft.com/office/drawing/2014/main" id="{8D6AA9B5-4D4E-4080-8ABE-3EE7A59128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5002"/>
            <a:stretch/>
          </p:blipFill>
          <p:spPr>
            <a:xfrm>
              <a:off x="5504892" y="6335423"/>
              <a:ext cx="480217" cy="503822"/>
            </a:xfrm>
            <a:prstGeom prst="rect">
              <a:avLst/>
            </a:prstGeom>
          </p:spPr>
        </p:pic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5820FB5D-00E0-44AF-9162-919AEFFE4BEB}"/>
                </a:ext>
              </a:extLst>
            </p:cNvPr>
            <p:cNvSpPr txBox="1"/>
            <p:nvPr/>
          </p:nvSpPr>
          <p:spPr>
            <a:xfrm>
              <a:off x="7900314" y="3451697"/>
              <a:ext cx="1828566" cy="1296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 dirty="0">
                  <a:solidFill>
                    <a:srgbClr val="000000"/>
                  </a:solidFill>
                  <a:latin typeface="Arial" panose="020B0604020202020204" pitchFamily="34" charset="0"/>
                  <a:ea typeface="Arial Unicode MS" pitchFamily="34" charset="-128"/>
                  <a:cs typeface="Arial" panose="020B0604020202020204" pitchFamily="34" charset="0"/>
                </a:rPr>
                <a:t>SAP S/4HANA Cloud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C12FFFA3-2F88-45C7-97C4-AB5E0D635C40}"/>
                </a:ext>
              </a:extLst>
            </p:cNvPr>
            <p:cNvSpPr txBox="1"/>
            <p:nvPr/>
          </p:nvSpPr>
          <p:spPr>
            <a:xfrm>
              <a:off x="5247359" y="4960801"/>
              <a:ext cx="2258856" cy="534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333333"/>
                  </a:solidFill>
                  <a:latin typeface="72" panose="020B0503030000000003" pitchFamily="34" charset="0"/>
                </a:rPr>
                <a:t>Bot read information having </a:t>
              </a:r>
              <a:r>
                <a:rPr lang="en-US" sz="900" b="1" dirty="0">
                  <a:solidFill>
                    <a:srgbClr val="333333"/>
                  </a:solidFill>
                  <a:latin typeface="72" panose="020B0503030000000003" pitchFamily="34" charset="0"/>
                </a:rPr>
                <a:t>Purchase Requisition</a:t>
              </a:r>
              <a:r>
                <a:rPr lang="en-US" sz="900" dirty="0">
                  <a:solidFill>
                    <a:srgbClr val="333333"/>
                  </a:solidFill>
                  <a:latin typeface="72" panose="020B0503030000000003" pitchFamily="34" charset="0"/>
                </a:rPr>
                <a:t> details from the excel input given by purchaser</a:t>
              </a:r>
              <a:r>
                <a:rPr lang="en-US" sz="800" dirty="0"/>
                <a:t> </a:t>
              </a:r>
            </a:p>
          </p:txBody>
        </p:sp>
        <p:sp>
          <p:nvSpPr>
            <p:cNvPr id="56" name="Arrow: Right 55">
              <a:extLst>
                <a:ext uri="{FF2B5EF4-FFF2-40B4-BE49-F238E27FC236}">
                  <a16:creationId xmlns:a16="http://schemas.microsoft.com/office/drawing/2014/main" id="{06260AE5-EAE3-4AF4-8ECB-2E5AE6C7F9F5}"/>
                </a:ext>
              </a:extLst>
            </p:cNvPr>
            <p:cNvSpPr/>
            <p:nvPr/>
          </p:nvSpPr>
          <p:spPr bwMode="gray">
            <a:xfrm rot="5400000" flipH="1">
              <a:off x="5268220" y="3739446"/>
              <a:ext cx="818929" cy="382653"/>
            </a:xfrm>
            <a:prstGeom prst="rightArrow">
              <a:avLst/>
            </a:prstGeom>
            <a:solidFill>
              <a:schemeClr val="accent5">
                <a:lumMod val="75000"/>
              </a:schemeClr>
            </a:solidFill>
            <a:ln w="12700" cap="flat" cmpd="sng" algn="ctr">
              <a:solidFill>
                <a:schemeClr val="accent5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US" sz="2399" kern="0" dirty="0">
                <a:ln w="0"/>
                <a:solidFill>
                  <a:srgbClr val="F0AB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E2C4462D-CFB3-45D0-8CB0-C0F34C5FF8F7}"/>
              </a:ext>
            </a:extLst>
          </p:cNvPr>
          <p:cNvSpPr/>
          <p:nvPr/>
        </p:nvSpPr>
        <p:spPr bwMode="gray">
          <a:xfrm rot="16200000">
            <a:off x="5363126" y="5066865"/>
            <a:ext cx="742117" cy="372962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 err="1">
              <a:ln w="0"/>
              <a:solidFill>
                <a:srgbClr val="F0AB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F9268B1-30CB-4524-92C0-26770E60B875}"/>
              </a:ext>
            </a:extLst>
          </p:cNvPr>
          <p:cNvSpPr/>
          <p:nvPr/>
        </p:nvSpPr>
        <p:spPr bwMode="gray">
          <a:xfrm>
            <a:off x="5210812" y="3452066"/>
            <a:ext cx="2326730" cy="2045186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lg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DB6C586-43AE-42B4-8D7D-4A5FCD5F4A22}"/>
              </a:ext>
            </a:extLst>
          </p:cNvPr>
          <p:cNvSpPr txBox="1"/>
          <p:nvPr/>
        </p:nvSpPr>
        <p:spPr>
          <a:xfrm flipH="1">
            <a:off x="7552462" y="2007768"/>
            <a:ext cx="213507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Bot process information and creates </a:t>
            </a:r>
            <a:r>
              <a:rPr lang="en-US" sz="900" b="1" dirty="0">
                <a:solidFill>
                  <a:srgbClr val="333333"/>
                </a:solidFill>
                <a:latin typeface="72" panose="020B0503030000000003" pitchFamily="34" charset="0"/>
              </a:rPr>
              <a:t>Purchase Requisition</a:t>
            </a: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 in S/4HANA Cloud. </a:t>
            </a:r>
            <a:endParaRPr lang="en-US" sz="10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52027207-9CA2-4467-A3AC-17D7A4A838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2002" y="2797277"/>
            <a:ext cx="515686" cy="560528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5D6936EE-4351-496C-A590-004BF68B6099}"/>
              </a:ext>
            </a:extLst>
          </p:cNvPr>
          <p:cNvSpPr/>
          <p:nvPr/>
        </p:nvSpPr>
        <p:spPr bwMode="gray">
          <a:xfrm>
            <a:off x="7602945" y="4420758"/>
            <a:ext cx="2178000" cy="1076494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7E2B91-4D59-450C-A0EC-5DCE1050CF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6968" y="4523682"/>
            <a:ext cx="345083" cy="272085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2D137414-07CA-47AA-ABEF-8364D147BB77}"/>
              </a:ext>
            </a:extLst>
          </p:cNvPr>
          <p:cNvSpPr txBox="1"/>
          <p:nvPr/>
        </p:nvSpPr>
        <p:spPr>
          <a:xfrm flipH="1">
            <a:off x="8094450" y="4513938"/>
            <a:ext cx="1633804" cy="9694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800" dirty="0">
                <a:solidFill>
                  <a:srgbClr val="333333"/>
                </a:solidFill>
                <a:latin typeface="72" panose="020B0503030000000003" pitchFamily="34" charset="0"/>
              </a:rPr>
              <a:t>Bot send communication to stakeholders, maintains log report with success or error status. Bot also maintains list of created </a:t>
            </a:r>
            <a:r>
              <a:rPr lang="en-US" sz="800" b="1" dirty="0">
                <a:solidFill>
                  <a:srgbClr val="333333"/>
                </a:solidFill>
                <a:latin typeface="72" panose="020B0503030000000003" pitchFamily="34" charset="0"/>
              </a:rPr>
              <a:t>Purchase Requisitions</a:t>
            </a:r>
            <a:r>
              <a:rPr lang="en-US" sz="800" dirty="0">
                <a:solidFill>
                  <a:srgbClr val="333333"/>
                </a:solidFill>
                <a:latin typeface="72" panose="020B0503030000000003" pitchFamily="34" charset="0"/>
              </a:rPr>
              <a:t> in file format in a base folder.</a:t>
            </a:r>
          </a:p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0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129CA-9004-466E-B288-9B39CC8F446B}"/>
              </a:ext>
            </a:extLst>
          </p:cNvPr>
          <p:cNvSpPr txBox="1"/>
          <p:nvPr/>
        </p:nvSpPr>
        <p:spPr>
          <a:xfrm>
            <a:off x="5208175" y="4791099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B767D29-E75A-4ED5-AC82-6FC65DB41CB4}"/>
              </a:ext>
            </a:extLst>
          </p:cNvPr>
          <p:cNvSpPr txBox="1"/>
          <p:nvPr/>
        </p:nvSpPr>
        <p:spPr>
          <a:xfrm>
            <a:off x="7228205" y="1961600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7A705FF-28BE-4CC4-A6B8-44F6D4054C0D}"/>
              </a:ext>
            </a:extLst>
          </p:cNvPr>
          <p:cNvSpPr txBox="1"/>
          <p:nvPr/>
        </p:nvSpPr>
        <p:spPr>
          <a:xfrm>
            <a:off x="7680470" y="4818722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5</a:t>
            </a:r>
          </a:p>
        </p:txBody>
      </p:sp>
      <p:sp>
        <p:nvSpPr>
          <p:cNvPr id="13" name="Arrow: Bent 12">
            <a:extLst>
              <a:ext uri="{FF2B5EF4-FFF2-40B4-BE49-F238E27FC236}">
                <a16:creationId xmlns:a16="http://schemas.microsoft.com/office/drawing/2014/main" id="{56AB2EDE-C2F0-4590-B935-CD15E55E5FAD}"/>
              </a:ext>
            </a:extLst>
          </p:cNvPr>
          <p:cNvSpPr/>
          <p:nvPr/>
        </p:nvSpPr>
        <p:spPr>
          <a:xfrm rot="5400000">
            <a:off x="6958335" y="1532770"/>
            <a:ext cx="369333" cy="221872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8FBF53-3574-4279-860F-B0DB265CAFCF}"/>
              </a:ext>
            </a:extLst>
          </p:cNvPr>
          <p:cNvSpPr/>
          <p:nvPr/>
        </p:nvSpPr>
        <p:spPr>
          <a:xfrm>
            <a:off x="5199207" y="5585009"/>
            <a:ext cx="4581739" cy="71496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F22FE8E-EE26-48C3-B189-2703D225C629}"/>
              </a:ext>
            </a:extLst>
          </p:cNvPr>
          <p:cNvSpPr txBox="1"/>
          <p:nvPr/>
        </p:nvSpPr>
        <p:spPr>
          <a:xfrm>
            <a:off x="5229981" y="5678485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1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ACD87257-3AC9-4D55-AFD0-4C140D4680E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9390" y="3773319"/>
            <a:ext cx="757804" cy="706797"/>
          </a:xfrm>
          <a:prstGeom prst="rect">
            <a:avLst/>
          </a:prstGeom>
        </p:spPr>
      </p:pic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86D60BD4-66A9-4E6E-8F83-B558CF063B1F}"/>
              </a:ext>
            </a:extLst>
          </p:cNvPr>
          <p:cNvSpPr/>
          <p:nvPr/>
        </p:nvSpPr>
        <p:spPr>
          <a:xfrm>
            <a:off x="5974896" y="4076837"/>
            <a:ext cx="293139" cy="170854"/>
          </a:xfrm>
          <a:prstGeom prst="leftRightArrow">
            <a:avLst/>
          </a:prstGeom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92D5FCC-4E68-4354-9422-3BB8A099FA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3568" y="1902265"/>
            <a:ext cx="405744" cy="376762"/>
          </a:xfrm>
          <a:prstGeom prst="rect">
            <a:avLst/>
          </a:prstGeom>
        </p:spPr>
      </p:pic>
      <p:sp>
        <p:nvSpPr>
          <p:cNvPr id="65" name="Arrow: Left-Right 64">
            <a:extLst>
              <a:ext uri="{FF2B5EF4-FFF2-40B4-BE49-F238E27FC236}">
                <a16:creationId xmlns:a16="http://schemas.microsoft.com/office/drawing/2014/main" id="{20399A54-EC54-41D3-B2C7-0385FBCE1244}"/>
              </a:ext>
            </a:extLst>
          </p:cNvPr>
          <p:cNvSpPr/>
          <p:nvPr/>
        </p:nvSpPr>
        <p:spPr>
          <a:xfrm rot="19008675">
            <a:off x="5759692" y="2255573"/>
            <a:ext cx="293139" cy="170854"/>
          </a:xfrm>
          <a:prstGeom prst="leftRightArrow">
            <a:avLst/>
          </a:prstGeom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900288A-1E22-4E79-B285-8EA4297B5F48}"/>
              </a:ext>
            </a:extLst>
          </p:cNvPr>
          <p:cNvSpPr txBox="1">
            <a:spLocks/>
          </p:cNvSpPr>
          <p:nvPr/>
        </p:nvSpPr>
        <p:spPr>
          <a:xfrm rot="16200000">
            <a:off x="5423144" y="2010078"/>
            <a:ext cx="153888" cy="450444"/>
          </a:xfrm>
          <a:prstGeom prst="rect">
            <a:avLst/>
          </a:prstGeom>
          <a:noFill/>
        </p:spPr>
        <p:txBody>
          <a:bodyPr vert="eaVert" wrap="non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rPr>
              <a:t>48M Bot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C3AB7AD6-40EE-408A-B8EA-C2312A944CC4}"/>
              </a:ext>
            </a:extLst>
          </p:cNvPr>
          <p:cNvSpPr/>
          <p:nvPr/>
        </p:nvSpPr>
        <p:spPr bwMode="gray">
          <a:xfrm rot="16200000" flipH="1">
            <a:off x="7979352" y="3301140"/>
            <a:ext cx="293888" cy="36791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 w="12700" cap="flat" cmpd="sng" algn="ctr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 dirty="0">
              <a:ln w="0"/>
              <a:solidFill>
                <a:srgbClr val="F0AB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7A2DC66-4171-406D-BFB6-D59826750369}"/>
              </a:ext>
            </a:extLst>
          </p:cNvPr>
          <p:cNvSpPr/>
          <p:nvPr/>
        </p:nvSpPr>
        <p:spPr bwMode="gray">
          <a:xfrm>
            <a:off x="7602945" y="3470129"/>
            <a:ext cx="2178000" cy="904329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60" name="Picture 35">
            <a:extLst>
              <a:ext uri="{FF2B5EF4-FFF2-40B4-BE49-F238E27FC236}">
                <a16:creationId xmlns:a16="http://schemas.microsoft.com/office/drawing/2014/main" id="{DFAAB51C-9D92-4079-9563-9DBD14BF27E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9658" y="3589358"/>
            <a:ext cx="278721" cy="248873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95CA366A-BFE0-498B-B0EC-FF91F8F867E9}"/>
              </a:ext>
            </a:extLst>
          </p:cNvPr>
          <p:cNvSpPr txBox="1"/>
          <p:nvPr/>
        </p:nvSpPr>
        <p:spPr>
          <a:xfrm flipH="1">
            <a:off x="8234959" y="3574633"/>
            <a:ext cx="1567318" cy="4154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Bot stores </a:t>
            </a:r>
            <a:r>
              <a:rPr lang="en-US" sz="900" b="1" dirty="0">
                <a:solidFill>
                  <a:srgbClr val="333333"/>
                </a:solidFill>
                <a:latin typeface="72" panose="020B0503030000000003" pitchFamily="34" charset="0"/>
              </a:rPr>
              <a:t>Purchase Requisition</a:t>
            </a: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 in excel file and save it in a base folder.</a:t>
            </a:r>
            <a:endParaRPr lang="en-US" sz="10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FAF4A-D62D-4C79-9D2D-5955BE7F36C4}"/>
              </a:ext>
            </a:extLst>
          </p:cNvPr>
          <p:cNvSpPr txBox="1"/>
          <p:nvPr/>
        </p:nvSpPr>
        <p:spPr>
          <a:xfrm>
            <a:off x="7719307" y="3855282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4</a:t>
            </a: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FDE62D95-61C8-4999-A303-623A68E77DBE}"/>
              </a:ext>
            </a:extLst>
          </p:cNvPr>
          <p:cNvSpPr/>
          <p:nvPr/>
        </p:nvSpPr>
        <p:spPr bwMode="gray">
          <a:xfrm rot="16200000" flipH="1">
            <a:off x="7933042" y="4159890"/>
            <a:ext cx="293888" cy="36791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 w="12700" cap="flat" cmpd="sng" algn="ctr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 dirty="0">
              <a:ln w="0"/>
              <a:solidFill>
                <a:srgbClr val="F0AB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60794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106">
            <a:extLst>
              <a:ext uri="{FF2B5EF4-FFF2-40B4-BE49-F238E27FC236}">
                <a16:creationId xmlns:a16="http://schemas.microsoft.com/office/drawing/2014/main" id="{9C5832BA-9584-FB43-8A84-6FA549030ECD}"/>
              </a:ext>
            </a:extLst>
          </p:cNvPr>
          <p:cNvSpPr/>
          <p:nvPr/>
        </p:nvSpPr>
        <p:spPr bwMode="gray">
          <a:xfrm>
            <a:off x="7851304" y="3758308"/>
            <a:ext cx="2823043" cy="231483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800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7ACE1ED1-AF5E-E84E-BC70-C1AB5B8C515F}"/>
              </a:ext>
            </a:extLst>
          </p:cNvPr>
          <p:cNvSpPr/>
          <p:nvPr/>
        </p:nvSpPr>
        <p:spPr bwMode="gray">
          <a:xfrm>
            <a:off x="4711864" y="3758308"/>
            <a:ext cx="2823043" cy="231483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800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C3E0DD6-5D4F-B543-80EF-B7B09F78EBBD}"/>
              </a:ext>
            </a:extLst>
          </p:cNvPr>
          <p:cNvSpPr/>
          <p:nvPr/>
        </p:nvSpPr>
        <p:spPr bwMode="gray">
          <a:xfrm>
            <a:off x="1623224" y="3758308"/>
            <a:ext cx="2823043" cy="231483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800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4" name="Rectangle 201">
            <a:extLst>
              <a:ext uri="{FF2B5EF4-FFF2-40B4-BE49-F238E27FC236}">
                <a16:creationId xmlns:a16="http://schemas.microsoft.com/office/drawing/2014/main" id="{CF974D43-0F97-5142-B707-003E707FAEBC}"/>
              </a:ext>
            </a:extLst>
          </p:cNvPr>
          <p:cNvSpPr/>
          <p:nvPr/>
        </p:nvSpPr>
        <p:spPr bwMode="gray">
          <a:xfrm>
            <a:off x="505458" y="1206387"/>
            <a:ext cx="10190865" cy="728190"/>
          </a:xfrm>
          <a:prstGeom prst="rect">
            <a:avLst/>
          </a:prstGeom>
          <a:solidFill>
            <a:schemeClr val="bg1">
              <a:lumMod val="85000"/>
              <a:alpha val="45000"/>
            </a:schemeClr>
          </a:solidFill>
          <a:ln w="25400" algn="ctr">
            <a:noFill/>
            <a:miter lim="800000"/>
            <a:headEnd/>
            <a:tailEnd/>
          </a:ln>
          <a:effectLst>
            <a:glow rad="177800">
              <a:schemeClr val="bg1">
                <a:alpha val="0"/>
              </a:schemeClr>
            </a:glow>
            <a:outerShdw dist="50800" sx="1000" sy="1000" algn="ctr" rotWithShape="0">
              <a:schemeClr val="bg1"/>
            </a:outerShdw>
            <a:reflection endPos="0" dist="50800" dir="5400000" sy="-100000" algn="bl" rotWithShape="0"/>
          </a:effectLst>
        </p:spPr>
        <p:txBody>
          <a:bodyPr lIns="89954" tIns="71962" rIns="89954" bIns="71962" rtlCol="0" anchor="ctr"/>
          <a:lstStyle/>
          <a:p>
            <a:pPr algn="ctr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2399" b="1" kern="0">
              <a:solidFill>
                <a:srgbClr val="CCCCCC">
                  <a:lumMod val="50000"/>
                  <a:alpha val="20000"/>
                </a:srgbClr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EFF917-8995-D744-96A6-4554B25DD99D}"/>
              </a:ext>
            </a:extLst>
          </p:cNvPr>
          <p:cNvSpPr/>
          <p:nvPr/>
        </p:nvSpPr>
        <p:spPr bwMode="gray">
          <a:xfrm>
            <a:off x="683371" y="1247991"/>
            <a:ext cx="10748217" cy="59919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800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04F849E-7A13-7C4E-B2B3-D0B19878B794}"/>
              </a:ext>
            </a:extLst>
          </p:cNvPr>
          <p:cNvSpPr/>
          <p:nvPr/>
        </p:nvSpPr>
        <p:spPr>
          <a:xfrm>
            <a:off x="600331" y="1275959"/>
            <a:ext cx="107482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DE" sz="1200">
                <a:solidFill>
                  <a:srgbClr val="000000"/>
                </a:solidFill>
              </a:rPr>
              <a:t>SAP Process Automation combines established Workflow Management and Robotic Process Automation capabilities to enable </a:t>
            </a:r>
            <a:br>
              <a:rPr lang="en-DE" sz="1200">
                <a:solidFill>
                  <a:srgbClr val="000000"/>
                </a:solidFill>
              </a:rPr>
            </a:br>
            <a:r>
              <a:rPr lang="en-DE" sz="1200">
                <a:solidFill>
                  <a:srgbClr val="000000"/>
                </a:solidFill>
              </a:rPr>
              <a:t>processes with automated </a:t>
            </a:r>
            <a:r>
              <a:rPr lang="en-DE" sz="1200" b="1">
                <a:solidFill>
                  <a:srgbClr val="000000"/>
                </a:solidFill>
              </a:rPr>
              <a:t>application service invocations </a:t>
            </a:r>
            <a:r>
              <a:rPr lang="en-DE" sz="1200">
                <a:solidFill>
                  <a:srgbClr val="000000"/>
                </a:solidFill>
              </a:rPr>
              <a:t>or event handlers,  </a:t>
            </a:r>
            <a:r>
              <a:rPr lang="en-DE" sz="1200" b="1">
                <a:solidFill>
                  <a:srgbClr val="000000"/>
                </a:solidFill>
              </a:rPr>
              <a:t>manual forms-based steps </a:t>
            </a:r>
            <a:r>
              <a:rPr lang="en-DE" sz="1200">
                <a:solidFill>
                  <a:srgbClr val="000000"/>
                </a:solidFill>
              </a:rPr>
              <a:t>for data collection and </a:t>
            </a:r>
            <a:br>
              <a:rPr lang="en-DE" sz="1200">
                <a:solidFill>
                  <a:srgbClr val="000000"/>
                </a:solidFill>
              </a:rPr>
            </a:br>
            <a:r>
              <a:rPr lang="en-DE" sz="1200">
                <a:solidFill>
                  <a:srgbClr val="000000"/>
                </a:solidFill>
              </a:rPr>
              <a:t>multi-step </a:t>
            </a:r>
            <a:r>
              <a:rPr lang="en-DE" sz="1200" b="1">
                <a:solidFill>
                  <a:srgbClr val="000000"/>
                </a:solidFill>
              </a:rPr>
              <a:t>approvals.  </a:t>
            </a:r>
            <a:r>
              <a:rPr lang="en-DE" sz="1200">
                <a:solidFill>
                  <a:srgbClr val="000000"/>
                </a:solidFill>
              </a:rPr>
              <a:t>A process can utilize </a:t>
            </a:r>
            <a:r>
              <a:rPr lang="en-DE" sz="1200" b="1">
                <a:solidFill>
                  <a:srgbClr val="000000"/>
                </a:solidFill>
              </a:rPr>
              <a:t>automated bots</a:t>
            </a:r>
            <a:r>
              <a:rPr lang="en-DE" sz="1200">
                <a:solidFill>
                  <a:srgbClr val="000000"/>
                </a:solidFill>
              </a:rPr>
              <a:t>, dynamic </a:t>
            </a:r>
            <a:r>
              <a:rPr lang="en-DE" sz="1200" b="1">
                <a:solidFill>
                  <a:srgbClr val="000000"/>
                </a:solidFill>
              </a:rPr>
              <a:t>business rules </a:t>
            </a:r>
            <a:r>
              <a:rPr lang="en-DE" sz="1200">
                <a:solidFill>
                  <a:srgbClr val="000000"/>
                </a:solidFill>
              </a:rPr>
              <a:t>and </a:t>
            </a:r>
            <a:r>
              <a:rPr lang="en-DE" sz="1200" b="1">
                <a:solidFill>
                  <a:srgbClr val="000000"/>
                </a:solidFill>
              </a:rPr>
              <a:t>embedded intelligence </a:t>
            </a:r>
            <a:r>
              <a:rPr lang="en-DE" sz="1200">
                <a:solidFill>
                  <a:srgbClr val="000000"/>
                </a:solidFill>
              </a:rPr>
              <a:t>from AI Services.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889C796B-7F36-5D48-A550-6A5756C6DC33}"/>
              </a:ext>
            </a:extLst>
          </p:cNvPr>
          <p:cNvSpPr/>
          <p:nvPr/>
        </p:nvSpPr>
        <p:spPr bwMode="gray">
          <a:xfrm>
            <a:off x="5248129" y="4225834"/>
            <a:ext cx="158711" cy="17238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800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0" name="Rounded Rectangle 119">
            <a:extLst>
              <a:ext uri="{FF2B5EF4-FFF2-40B4-BE49-F238E27FC236}">
                <a16:creationId xmlns:a16="http://schemas.microsoft.com/office/drawing/2014/main" id="{DDCB16FF-682D-C940-8E1D-37416E02CC16}"/>
              </a:ext>
            </a:extLst>
          </p:cNvPr>
          <p:cNvSpPr/>
          <p:nvPr/>
        </p:nvSpPr>
        <p:spPr bwMode="gray">
          <a:xfrm>
            <a:off x="5511904" y="4183449"/>
            <a:ext cx="421131" cy="257491"/>
          </a:xfrm>
          <a:prstGeom prst="roundRect">
            <a:avLst>
              <a:gd name="adj" fmla="val 6873"/>
            </a:avLst>
          </a:prstGeom>
          <a:solidFill>
            <a:schemeClr val="bg1"/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400" kern="0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A51A5AA0-D930-7D4F-9FA0-7AA1385D30E8}"/>
              </a:ext>
            </a:extLst>
          </p:cNvPr>
          <p:cNvCxnSpPr>
            <a:cxnSpLocks/>
            <a:stCxn id="119" idx="6"/>
            <a:endCxn id="120" idx="1"/>
          </p:cNvCxnSpPr>
          <p:nvPr/>
        </p:nvCxnSpPr>
        <p:spPr>
          <a:xfrm>
            <a:off x="5406839" y="4312026"/>
            <a:ext cx="105064" cy="169"/>
          </a:xfrm>
          <a:prstGeom prst="line">
            <a:avLst/>
          </a:prstGeom>
          <a:solidFill>
            <a:schemeClr val="bg1">
              <a:lumMod val="95000"/>
              <a:alpha val="9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24519F25-0537-AB48-9BF7-51A309D75AFD}"/>
              </a:ext>
            </a:extLst>
          </p:cNvPr>
          <p:cNvCxnSpPr>
            <a:cxnSpLocks/>
          </p:cNvCxnSpPr>
          <p:nvPr/>
        </p:nvCxnSpPr>
        <p:spPr>
          <a:xfrm>
            <a:off x="7003010" y="4312194"/>
            <a:ext cx="108239" cy="186"/>
          </a:xfrm>
          <a:prstGeom prst="line">
            <a:avLst/>
          </a:prstGeom>
          <a:solidFill>
            <a:schemeClr val="bg1">
              <a:lumMod val="95000"/>
              <a:alpha val="9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A8305C32-4922-FE42-942F-B5E5DB5D1140}"/>
              </a:ext>
            </a:extLst>
          </p:cNvPr>
          <p:cNvCxnSpPr>
            <a:cxnSpLocks/>
          </p:cNvCxnSpPr>
          <p:nvPr/>
        </p:nvCxnSpPr>
        <p:spPr>
          <a:xfrm flipV="1">
            <a:off x="5323642" y="4402058"/>
            <a:ext cx="0" cy="198512"/>
          </a:xfrm>
          <a:prstGeom prst="straightConnector1">
            <a:avLst/>
          </a:prstGeom>
          <a:ln w="9525">
            <a:solidFill>
              <a:schemeClr val="accent1"/>
            </a:solidFill>
            <a:headEnd type="none" w="lg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ounded Rectangle 125">
            <a:extLst>
              <a:ext uri="{FF2B5EF4-FFF2-40B4-BE49-F238E27FC236}">
                <a16:creationId xmlns:a16="http://schemas.microsoft.com/office/drawing/2014/main" id="{639A750E-83AC-1943-AA38-2F40758F98ED}"/>
              </a:ext>
            </a:extLst>
          </p:cNvPr>
          <p:cNvSpPr/>
          <p:nvPr/>
        </p:nvSpPr>
        <p:spPr bwMode="gray">
          <a:xfrm>
            <a:off x="6584200" y="4183449"/>
            <a:ext cx="421131" cy="257491"/>
          </a:xfrm>
          <a:prstGeom prst="roundRect">
            <a:avLst>
              <a:gd name="adj" fmla="val 6873"/>
            </a:avLst>
          </a:prstGeom>
          <a:solidFill>
            <a:schemeClr val="bg1"/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400" kern="0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127" name="Rounded Rectangle 126">
            <a:extLst>
              <a:ext uri="{FF2B5EF4-FFF2-40B4-BE49-F238E27FC236}">
                <a16:creationId xmlns:a16="http://schemas.microsoft.com/office/drawing/2014/main" id="{A3A04440-DB37-584D-BA21-F0D3FBDB1748}"/>
              </a:ext>
            </a:extLst>
          </p:cNvPr>
          <p:cNvSpPr/>
          <p:nvPr/>
        </p:nvSpPr>
        <p:spPr bwMode="gray">
          <a:xfrm>
            <a:off x="6050800" y="4183449"/>
            <a:ext cx="421131" cy="257491"/>
          </a:xfrm>
          <a:prstGeom prst="roundRect">
            <a:avLst>
              <a:gd name="adj" fmla="val 6873"/>
            </a:avLst>
          </a:prstGeom>
          <a:solidFill>
            <a:schemeClr val="bg1"/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400" kern="0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FE35B9D8-1EC9-064A-AFF0-07B16E5ADC6C}"/>
              </a:ext>
            </a:extLst>
          </p:cNvPr>
          <p:cNvCxnSpPr>
            <a:cxnSpLocks/>
          </p:cNvCxnSpPr>
          <p:nvPr/>
        </p:nvCxnSpPr>
        <p:spPr>
          <a:xfrm>
            <a:off x="5933035" y="4312194"/>
            <a:ext cx="108239" cy="186"/>
          </a:xfrm>
          <a:prstGeom prst="line">
            <a:avLst/>
          </a:prstGeom>
          <a:solidFill>
            <a:schemeClr val="bg1">
              <a:lumMod val="95000"/>
              <a:alpha val="9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</p:cxnSp>
      <p:sp>
        <p:nvSpPr>
          <p:cNvPr id="129" name="Oval 128">
            <a:extLst>
              <a:ext uri="{FF2B5EF4-FFF2-40B4-BE49-F238E27FC236}">
                <a16:creationId xmlns:a16="http://schemas.microsoft.com/office/drawing/2014/main" id="{FBB8BC5B-E53A-624A-BBC9-B61B58762E1F}"/>
              </a:ext>
            </a:extLst>
          </p:cNvPr>
          <p:cNvSpPr/>
          <p:nvPr/>
        </p:nvSpPr>
        <p:spPr bwMode="gray">
          <a:xfrm>
            <a:off x="7113436" y="4216393"/>
            <a:ext cx="158711" cy="172382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800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4E4E9D27-6576-B94F-B5C1-DE0A40521D89}"/>
              </a:ext>
            </a:extLst>
          </p:cNvPr>
          <p:cNvCxnSpPr>
            <a:cxnSpLocks/>
          </p:cNvCxnSpPr>
          <p:nvPr/>
        </p:nvCxnSpPr>
        <p:spPr>
          <a:xfrm>
            <a:off x="6479135" y="4312194"/>
            <a:ext cx="108239" cy="186"/>
          </a:xfrm>
          <a:prstGeom prst="line">
            <a:avLst/>
          </a:prstGeom>
          <a:solidFill>
            <a:schemeClr val="bg1">
              <a:lumMod val="95000"/>
              <a:alpha val="9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C5893A86-EEA4-2145-BD51-D09D9AA6F759}"/>
              </a:ext>
            </a:extLst>
          </p:cNvPr>
          <p:cNvSpPr/>
          <p:nvPr/>
        </p:nvSpPr>
        <p:spPr bwMode="gray">
          <a:xfrm>
            <a:off x="10182606" y="4697277"/>
            <a:ext cx="505928" cy="422318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89954" tIns="71962" rIns="89954" bIns="71962" rtlCol="0" anchor="t"/>
          <a:lstStyle/>
          <a:p>
            <a:pPr algn="ctr" defTabSz="914126" fontAlgn="base"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br>
              <a:rPr lang="en-DE" sz="700" b="1" kern="0">
                <a:solidFill>
                  <a:srgbClr val="000000"/>
                </a:solidFill>
                <a:ea typeface="Arial Unicode MS"/>
                <a:cs typeface="Arial"/>
              </a:rPr>
            </a:br>
            <a:r>
              <a:rPr lang="en-DE" sz="700" b="1" kern="0">
                <a:solidFill>
                  <a:srgbClr val="000000"/>
                </a:solidFill>
                <a:ea typeface="Arial Unicode MS"/>
                <a:cs typeface="Arial"/>
              </a:rPr>
              <a:t>Non-SAP</a:t>
            </a: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DF4FC8A6-9C37-1C40-8D7D-4F58663D3E99}"/>
              </a:ext>
            </a:extLst>
          </p:cNvPr>
          <p:cNvSpPr/>
          <p:nvPr/>
        </p:nvSpPr>
        <p:spPr bwMode="gray">
          <a:xfrm>
            <a:off x="8040183" y="4210990"/>
            <a:ext cx="158711" cy="17238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800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7" name="Rounded Rectangle 136">
            <a:extLst>
              <a:ext uri="{FF2B5EF4-FFF2-40B4-BE49-F238E27FC236}">
                <a16:creationId xmlns:a16="http://schemas.microsoft.com/office/drawing/2014/main" id="{CD5F342B-66EB-4546-9640-649C667B277A}"/>
              </a:ext>
            </a:extLst>
          </p:cNvPr>
          <p:cNvSpPr/>
          <p:nvPr/>
        </p:nvSpPr>
        <p:spPr bwMode="gray">
          <a:xfrm>
            <a:off x="8303958" y="4168605"/>
            <a:ext cx="421131" cy="257491"/>
          </a:xfrm>
          <a:prstGeom prst="roundRect">
            <a:avLst>
              <a:gd name="adj" fmla="val 6873"/>
            </a:avLst>
          </a:prstGeom>
          <a:solidFill>
            <a:schemeClr val="bg1"/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400" kern="0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15AE4212-7264-3C41-82C0-96931A84AFEF}"/>
              </a:ext>
            </a:extLst>
          </p:cNvPr>
          <p:cNvCxnSpPr>
            <a:cxnSpLocks/>
            <a:stCxn id="136" idx="6"/>
            <a:endCxn id="137" idx="1"/>
          </p:cNvCxnSpPr>
          <p:nvPr/>
        </p:nvCxnSpPr>
        <p:spPr>
          <a:xfrm>
            <a:off x="8198893" y="4297182"/>
            <a:ext cx="105064" cy="169"/>
          </a:xfrm>
          <a:prstGeom prst="line">
            <a:avLst/>
          </a:prstGeom>
          <a:solidFill>
            <a:schemeClr val="bg1">
              <a:lumMod val="95000"/>
              <a:alpha val="9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01F97965-CBA9-4342-A84E-7FCD4E2ABB41}"/>
              </a:ext>
            </a:extLst>
          </p:cNvPr>
          <p:cNvCxnSpPr>
            <a:cxnSpLocks/>
          </p:cNvCxnSpPr>
          <p:nvPr/>
        </p:nvCxnSpPr>
        <p:spPr>
          <a:xfrm>
            <a:off x="10318549" y="4297350"/>
            <a:ext cx="108239" cy="186"/>
          </a:xfrm>
          <a:prstGeom prst="line">
            <a:avLst/>
          </a:prstGeom>
          <a:solidFill>
            <a:schemeClr val="bg1">
              <a:lumMod val="95000"/>
              <a:alpha val="9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</p:cxnSp>
      <p:sp>
        <p:nvSpPr>
          <p:cNvPr id="140" name="Rounded Rectangle 139">
            <a:extLst>
              <a:ext uri="{FF2B5EF4-FFF2-40B4-BE49-F238E27FC236}">
                <a16:creationId xmlns:a16="http://schemas.microsoft.com/office/drawing/2014/main" id="{FFC2F841-24CC-7E46-8892-BCDBE1EC9375}"/>
              </a:ext>
            </a:extLst>
          </p:cNvPr>
          <p:cNvSpPr/>
          <p:nvPr/>
        </p:nvSpPr>
        <p:spPr bwMode="gray">
          <a:xfrm>
            <a:off x="9899736" y="4168605"/>
            <a:ext cx="421131" cy="257491"/>
          </a:xfrm>
          <a:prstGeom prst="roundRect">
            <a:avLst>
              <a:gd name="adj" fmla="val 6873"/>
            </a:avLst>
          </a:prstGeom>
          <a:solidFill>
            <a:schemeClr val="bg1"/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400" kern="0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141" name="Rounded Rectangle 140">
            <a:extLst>
              <a:ext uri="{FF2B5EF4-FFF2-40B4-BE49-F238E27FC236}">
                <a16:creationId xmlns:a16="http://schemas.microsoft.com/office/drawing/2014/main" id="{7D968ABF-75D4-4F44-8E97-D9B16A04D9AB}"/>
              </a:ext>
            </a:extLst>
          </p:cNvPr>
          <p:cNvSpPr/>
          <p:nvPr/>
        </p:nvSpPr>
        <p:spPr bwMode="gray">
          <a:xfrm>
            <a:off x="8842854" y="4168605"/>
            <a:ext cx="421131" cy="257491"/>
          </a:xfrm>
          <a:prstGeom prst="roundRect">
            <a:avLst>
              <a:gd name="adj" fmla="val 6873"/>
            </a:avLst>
          </a:prstGeom>
          <a:solidFill>
            <a:schemeClr val="bg1"/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400" kern="0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AF10D7F8-A682-1647-B074-42C18AEDB0A7}"/>
              </a:ext>
            </a:extLst>
          </p:cNvPr>
          <p:cNvCxnSpPr>
            <a:cxnSpLocks/>
          </p:cNvCxnSpPr>
          <p:nvPr/>
        </p:nvCxnSpPr>
        <p:spPr>
          <a:xfrm>
            <a:off x="8725089" y="4297350"/>
            <a:ext cx="108239" cy="186"/>
          </a:xfrm>
          <a:prstGeom prst="line">
            <a:avLst/>
          </a:prstGeom>
          <a:solidFill>
            <a:schemeClr val="bg1">
              <a:lumMod val="95000"/>
              <a:alpha val="9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</p:cxnSp>
      <p:sp>
        <p:nvSpPr>
          <p:cNvPr id="143" name="Oval 142">
            <a:extLst>
              <a:ext uri="{FF2B5EF4-FFF2-40B4-BE49-F238E27FC236}">
                <a16:creationId xmlns:a16="http://schemas.microsoft.com/office/drawing/2014/main" id="{07802169-41C7-664C-A976-AA284858A0B7}"/>
              </a:ext>
            </a:extLst>
          </p:cNvPr>
          <p:cNvSpPr/>
          <p:nvPr/>
        </p:nvSpPr>
        <p:spPr bwMode="gray">
          <a:xfrm>
            <a:off x="10422177" y="4201549"/>
            <a:ext cx="158711" cy="172382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800" kern="0" err="1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EE3A3111-B2EF-7541-A45F-9FAA052F4551}"/>
              </a:ext>
            </a:extLst>
          </p:cNvPr>
          <p:cNvCxnSpPr>
            <a:cxnSpLocks/>
          </p:cNvCxnSpPr>
          <p:nvPr/>
        </p:nvCxnSpPr>
        <p:spPr>
          <a:xfrm>
            <a:off x="9794671" y="4297350"/>
            <a:ext cx="108239" cy="186"/>
          </a:xfrm>
          <a:prstGeom prst="line">
            <a:avLst/>
          </a:prstGeom>
          <a:solidFill>
            <a:schemeClr val="bg1">
              <a:lumMod val="95000"/>
              <a:alpha val="9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</p:cxnSp>
      <p:sp>
        <p:nvSpPr>
          <p:cNvPr id="145" name="Rounded Rectangle 144">
            <a:extLst>
              <a:ext uri="{FF2B5EF4-FFF2-40B4-BE49-F238E27FC236}">
                <a16:creationId xmlns:a16="http://schemas.microsoft.com/office/drawing/2014/main" id="{E7A12F11-5953-1F44-A12B-7221C8EB6812}"/>
              </a:ext>
            </a:extLst>
          </p:cNvPr>
          <p:cNvSpPr/>
          <p:nvPr/>
        </p:nvSpPr>
        <p:spPr bwMode="gray">
          <a:xfrm>
            <a:off x="9376254" y="4168605"/>
            <a:ext cx="421131" cy="257491"/>
          </a:xfrm>
          <a:prstGeom prst="roundRect">
            <a:avLst>
              <a:gd name="adj" fmla="val 6873"/>
            </a:avLst>
          </a:prstGeom>
          <a:solidFill>
            <a:schemeClr val="bg1"/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400" kern="0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E35DEA97-BDF2-C841-9C7F-E428C28E3EB9}"/>
              </a:ext>
            </a:extLst>
          </p:cNvPr>
          <p:cNvCxnSpPr>
            <a:cxnSpLocks/>
          </p:cNvCxnSpPr>
          <p:nvPr/>
        </p:nvCxnSpPr>
        <p:spPr>
          <a:xfrm>
            <a:off x="9271189" y="4297350"/>
            <a:ext cx="108239" cy="186"/>
          </a:xfrm>
          <a:prstGeom prst="line">
            <a:avLst/>
          </a:prstGeom>
          <a:solidFill>
            <a:schemeClr val="bg1">
              <a:lumMod val="95000"/>
              <a:alpha val="9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3D7C6558-1F17-2F43-AA26-19EE6A7A8A7D}"/>
              </a:ext>
            </a:extLst>
          </p:cNvPr>
          <p:cNvCxnSpPr>
            <a:cxnSpLocks/>
          </p:cNvCxnSpPr>
          <p:nvPr/>
        </p:nvCxnSpPr>
        <p:spPr>
          <a:xfrm flipV="1">
            <a:off x="8123455" y="4390480"/>
            <a:ext cx="0" cy="295608"/>
          </a:xfrm>
          <a:prstGeom prst="straightConnector1">
            <a:avLst/>
          </a:prstGeom>
          <a:ln w="9525">
            <a:solidFill>
              <a:schemeClr val="accent1"/>
            </a:solidFill>
            <a:headEnd type="none" w="lg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3BBD2E55-3881-644B-9465-1156AAAD3CC6}"/>
              </a:ext>
            </a:extLst>
          </p:cNvPr>
          <p:cNvCxnSpPr>
            <a:cxnSpLocks/>
          </p:cNvCxnSpPr>
          <p:nvPr/>
        </p:nvCxnSpPr>
        <p:spPr>
          <a:xfrm flipV="1">
            <a:off x="6805997" y="4451474"/>
            <a:ext cx="0" cy="153500"/>
          </a:xfrm>
          <a:prstGeom prst="straightConnector1">
            <a:avLst/>
          </a:prstGeom>
          <a:ln w="9525">
            <a:solidFill>
              <a:schemeClr val="accent1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A26D2B4E-F05E-BA43-989B-ED9ADE9FAEB8}"/>
              </a:ext>
            </a:extLst>
          </p:cNvPr>
          <p:cNvCxnSpPr>
            <a:cxnSpLocks/>
          </p:cNvCxnSpPr>
          <p:nvPr/>
        </p:nvCxnSpPr>
        <p:spPr>
          <a:xfrm flipV="1">
            <a:off x="9191820" y="4445652"/>
            <a:ext cx="0" cy="240436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037189BF-EE8C-1E45-86F5-055D3D6B8A06}"/>
              </a:ext>
            </a:extLst>
          </p:cNvPr>
          <p:cNvCxnSpPr>
            <a:cxnSpLocks/>
          </p:cNvCxnSpPr>
          <p:nvPr/>
        </p:nvCxnSpPr>
        <p:spPr>
          <a:xfrm flipV="1">
            <a:off x="9737384" y="4445652"/>
            <a:ext cx="0" cy="240436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AAEE188C-0D56-FD4E-A523-8628D56A6460}"/>
              </a:ext>
            </a:extLst>
          </p:cNvPr>
          <p:cNvCxnSpPr>
            <a:cxnSpLocks/>
          </p:cNvCxnSpPr>
          <p:nvPr/>
        </p:nvCxnSpPr>
        <p:spPr>
          <a:xfrm flipV="1">
            <a:off x="10271422" y="4445653"/>
            <a:ext cx="0" cy="251625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6ACD75FB-2735-9C4B-9476-3D75018AA2F3}"/>
              </a:ext>
            </a:extLst>
          </p:cNvPr>
          <p:cNvCxnSpPr>
            <a:cxnSpLocks/>
          </p:cNvCxnSpPr>
          <p:nvPr/>
        </p:nvCxnSpPr>
        <p:spPr>
          <a:xfrm flipV="1">
            <a:off x="8573258" y="4445652"/>
            <a:ext cx="0" cy="240436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4E70CE9E-60D0-6D4F-BDAE-1110E41A3EF4}"/>
              </a:ext>
            </a:extLst>
          </p:cNvPr>
          <p:cNvCxnSpPr>
            <a:cxnSpLocks/>
          </p:cNvCxnSpPr>
          <p:nvPr/>
        </p:nvCxnSpPr>
        <p:spPr>
          <a:xfrm flipV="1">
            <a:off x="10048586" y="4445653"/>
            <a:ext cx="0" cy="251625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C16BFB8-E8E7-724A-B565-9605B5480ECA}"/>
              </a:ext>
            </a:extLst>
          </p:cNvPr>
          <p:cNvSpPr/>
          <p:nvPr/>
        </p:nvSpPr>
        <p:spPr>
          <a:xfrm>
            <a:off x="1522292" y="3846454"/>
            <a:ext cx="29262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1200" b="1" kern="0">
                <a:solidFill>
                  <a:srgbClr val="000000">
                    <a:lumMod val="85000"/>
                    <a:lumOff val="15000"/>
                  </a:srgbClr>
                </a:solidFill>
                <a:ea typeface="Arial Unicode MS" pitchFamily="34" charset="-128"/>
                <a:cs typeface="Arial Unicode MS" pitchFamily="34" charset="-128"/>
              </a:rPr>
              <a:t>Embedded Application Process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6ABA3BE4-08AF-FB42-A373-1E88A5809164}"/>
              </a:ext>
            </a:extLst>
          </p:cNvPr>
          <p:cNvSpPr/>
          <p:nvPr/>
        </p:nvSpPr>
        <p:spPr>
          <a:xfrm>
            <a:off x="4714484" y="3861739"/>
            <a:ext cx="283310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1200" b="1" kern="0">
                <a:solidFill>
                  <a:srgbClr val="000000">
                    <a:lumMod val="85000"/>
                    <a:lumOff val="15000"/>
                  </a:srgbClr>
                </a:solidFill>
                <a:ea typeface="Arial Unicode MS" pitchFamily="34" charset="-128"/>
                <a:cs typeface="Arial Unicode MS" pitchFamily="34" charset="-128"/>
              </a:rPr>
              <a:t>Extension Process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05F54A31-1E32-FC49-ADB9-2C76DCAA9B10}"/>
              </a:ext>
            </a:extLst>
          </p:cNvPr>
          <p:cNvSpPr/>
          <p:nvPr/>
        </p:nvSpPr>
        <p:spPr>
          <a:xfrm>
            <a:off x="7885852" y="3853872"/>
            <a:ext cx="28104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1200" b="1" kern="0">
                <a:solidFill>
                  <a:srgbClr val="000000">
                    <a:lumMod val="85000"/>
                    <a:lumOff val="15000"/>
                  </a:srgbClr>
                </a:solidFill>
                <a:ea typeface="Arial Unicode MS" pitchFamily="34" charset="-128"/>
                <a:cs typeface="Arial Unicode MS" pitchFamily="34" charset="-128"/>
              </a:rPr>
              <a:t>Cross LoB Proc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29BD5A-4919-3F48-A85C-5C51593D8EFB}"/>
              </a:ext>
            </a:extLst>
          </p:cNvPr>
          <p:cNvSpPr txBox="1"/>
          <p:nvPr/>
        </p:nvSpPr>
        <p:spPr>
          <a:xfrm>
            <a:off x="5593023" y="6589346"/>
            <a:ext cx="1295226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7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= Business Event &amp; Data Model</a:t>
            </a:r>
          </a:p>
        </p:txBody>
      </p:sp>
      <p:pic>
        <p:nvPicPr>
          <p:cNvPr id="180" name="Graphic 179" descr="Gears with solid fill">
            <a:extLst>
              <a:ext uri="{FF2B5EF4-FFF2-40B4-BE49-F238E27FC236}">
                <a16:creationId xmlns:a16="http://schemas.microsoft.com/office/drawing/2014/main" id="{458B65B4-100E-8C42-8798-AFEEDD3314B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8492" t="5449" r="15177" b="49816"/>
          <a:stretch/>
        </p:blipFill>
        <p:spPr>
          <a:xfrm>
            <a:off x="10213614" y="4705975"/>
            <a:ext cx="154503" cy="149175"/>
          </a:xfrm>
          <a:prstGeom prst="rect">
            <a:avLst/>
          </a:prstGeom>
        </p:spPr>
      </p:pic>
      <p:pic>
        <p:nvPicPr>
          <p:cNvPr id="181" name="Graphic 180" descr="Gears with solid fill">
            <a:extLst>
              <a:ext uri="{FF2B5EF4-FFF2-40B4-BE49-F238E27FC236}">
                <a16:creationId xmlns:a16="http://schemas.microsoft.com/office/drawing/2014/main" id="{7B49F92F-654E-9D41-9CC4-63B1FA62815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8492" t="5449" r="15177" b="49816"/>
          <a:stretch/>
        </p:blipFill>
        <p:spPr>
          <a:xfrm>
            <a:off x="7053237" y="6554216"/>
            <a:ext cx="149516" cy="14436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C28BD50-9053-E24D-9DFD-465001452701}"/>
              </a:ext>
            </a:extLst>
          </p:cNvPr>
          <p:cNvSpPr/>
          <p:nvPr/>
        </p:nvSpPr>
        <p:spPr>
          <a:xfrm>
            <a:off x="7144618" y="6528048"/>
            <a:ext cx="211788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= API (Application Programming Interface)</a:t>
            </a:r>
          </a:p>
        </p:txBody>
      </p:sp>
      <p:sp>
        <p:nvSpPr>
          <p:cNvPr id="77" name="Rectangle 153">
            <a:extLst>
              <a:ext uri="{FF2B5EF4-FFF2-40B4-BE49-F238E27FC236}">
                <a16:creationId xmlns:a16="http://schemas.microsoft.com/office/drawing/2014/main" id="{A728E16B-4538-5243-80B7-C80F6FE35886}"/>
              </a:ext>
            </a:extLst>
          </p:cNvPr>
          <p:cNvSpPr/>
          <p:nvPr/>
        </p:nvSpPr>
        <p:spPr bwMode="gray">
          <a:xfrm>
            <a:off x="1615476" y="4220113"/>
            <a:ext cx="2833104" cy="888935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algn="ctr">
            <a:noFill/>
            <a:miter lim="800000"/>
            <a:headEnd/>
            <a:tailEnd/>
          </a:ln>
          <a:effectLst>
            <a:glow rad="177800">
              <a:schemeClr val="bg1">
                <a:alpha val="0"/>
              </a:schemeClr>
            </a:glow>
            <a:outerShdw dist="50800" sx="1000" sy="1000" algn="ctr" rotWithShape="0">
              <a:srgbClr val="005998"/>
            </a:outerShdw>
            <a:reflection endPos="0" dist="50800" dir="5400000" sy="-100000" algn="bl" rotWithShape="0"/>
          </a:effectLst>
        </p:spPr>
        <p:txBody>
          <a:bodyPr lIns="89954" tIns="71962" rIns="89954" bIns="71962" rtlCol="0" anchor="t"/>
          <a:lstStyle/>
          <a:p>
            <a:pPr defTabSz="914126" fontAlgn="base"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1000" b="1" ker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Line of Business Application</a:t>
            </a:r>
          </a:p>
        </p:txBody>
      </p:sp>
      <p:sp>
        <p:nvSpPr>
          <p:cNvPr id="79" name="Rectangle 153">
            <a:extLst>
              <a:ext uri="{FF2B5EF4-FFF2-40B4-BE49-F238E27FC236}">
                <a16:creationId xmlns:a16="http://schemas.microsoft.com/office/drawing/2014/main" id="{804E76D0-5621-5043-A0A3-C469227B6CFE}"/>
              </a:ext>
            </a:extLst>
          </p:cNvPr>
          <p:cNvSpPr/>
          <p:nvPr/>
        </p:nvSpPr>
        <p:spPr bwMode="gray">
          <a:xfrm>
            <a:off x="4714485" y="4594129"/>
            <a:ext cx="2833103" cy="514918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algn="ctr">
            <a:noFill/>
            <a:miter lim="800000"/>
            <a:headEnd/>
            <a:tailEnd/>
          </a:ln>
          <a:effectLst>
            <a:glow rad="177800">
              <a:schemeClr val="bg1">
                <a:alpha val="0"/>
              </a:schemeClr>
            </a:glow>
            <a:outerShdw dist="50800" sx="1000" sy="1000" algn="ctr" rotWithShape="0">
              <a:schemeClr val="bg1"/>
            </a:outerShdw>
            <a:reflection endPos="0" dist="50800" dir="5400000" sy="-100000" algn="bl" rotWithShape="0"/>
          </a:effectLst>
        </p:spPr>
        <p:txBody>
          <a:bodyPr lIns="89954" tIns="71962" rIns="89954" bIns="71962" rtlCol="0" anchor="b"/>
          <a:lstStyle/>
          <a:p>
            <a:pPr defTabSz="914126" fontAlgn="base"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1000" b="1" ker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Line of Business Applicat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228994C-7D53-0241-8BB0-035C0A9E4376}"/>
              </a:ext>
            </a:extLst>
          </p:cNvPr>
          <p:cNvGrpSpPr/>
          <p:nvPr/>
        </p:nvGrpSpPr>
        <p:grpSpPr>
          <a:xfrm>
            <a:off x="7944992" y="4691290"/>
            <a:ext cx="2182327" cy="422149"/>
            <a:chOff x="7790115" y="5415448"/>
            <a:chExt cx="2182327" cy="422149"/>
          </a:xfrm>
        </p:grpSpPr>
        <p:sp>
          <p:nvSpPr>
            <p:cNvPr id="80" name="Rectangle 153">
              <a:extLst>
                <a:ext uri="{FF2B5EF4-FFF2-40B4-BE49-F238E27FC236}">
                  <a16:creationId xmlns:a16="http://schemas.microsoft.com/office/drawing/2014/main" id="{7CEB12EF-DA45-D749-89B9-F3063B0E914A}"/>
                </a:ext>
              </a:extLst>
            </p:cNvPr>
            <p:cNvSpPr/>
            <p:nvPr/>
          </p:nvSpPr>
          <p:spPr bwMode="gray">
            <a:xfrm>
              <a:off x="8353149" y="5415448"/>
              <a:ext cx="501703" cy="42214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  <a:effectLst>
              <a:glow rad="177800">
                <a:schemeClr val="bg1">
                  <a:alpha val="0"/>
                </a:schemeClr>
              </a:glow>
              <a:outerShdw dist="50800" sx="1000" sy="1000" algn="ctr" rotWithShape="0">
                <a:schemeClr val="bg1"/>
              </a:outerShdw>
              <a:reflection endPos="0" dist="50800" dir="5400000" sy="-100000" algn="bl" rotWithShape="0"/>
            </a:effectLst>
          </p:spPr>
          <p:txBody>
            <a:bodyPr lIns="89954" tIns="71962" rIns="89954" bIns="71962" rtlCol="0" anchor="t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DE" sz="1000" b="1" ker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" name="Rectangle 153">
              <a:extLst>
                <a:ext uri="{FF2B5EF4-FFF2-40B4-BE49-F238E27FC236}">
                  <a16:creationId xmlns:a16="http://schemas.microsoft.com/office/drawing/2014/main" id="{C40A7A38-ADC5-134F-A734-F7B67B059CB8}"/>
                </a:ext>
              </a:extLst>
            </p:cNvPr>
            <p:cNvSpPr/>
            <p:nvPr/>
          </p:nvSpPr>
          <p:spPr bwMode="gray">
            <a:xfrm>
              <a:off x="8907708" y="5415448"/>
              <a:ext cx="501703" cy="42214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  <a:effectLst>
              <a:glow rad="177800">
                <a:schemeClr val="bg1">
                  <a:alpha val="0"/>
                </a:schemeClr>
              </a:glow>
              <a:outerShdw dist="50800" sx="1000" sy="1000" algn="ctr" rotWithShape="0">
                <a:schemeClr val="bg1"/>
              </a:outerShdw>
              <a:reflection endPos="0" dist="50800" dir="5400000" sy="-100000" algn="bl" rotWithShape="0"/>
            </a:effectLst>
          </p:spPr>
          <p:txBody>
            <a:bodyPr lIns="89954" tIns="71962" rIns="89954" bIns="71962" rtlCol="0" anchor="t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DE" sz="1000" b="1" ker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2" name="Rectangle 153">
              <a:extLst>
                <a:ext uri="{FF2B5EF4-FFF2-40B4-BE49-F238E27FC236}">
                  <a16:creationId xmlns:a16="http://schemas.microsoft.com/office/drawing/2014/main" id="{E006736A-8529-3A49-9E15-8697CB7424EA}"/>
                </a:ext>
              </a:extLst>
            </p:cNvPr>
            <p:cNvSpPr/>
            <p:nvPr/>
          </p:nvSpPr>
          <p:spPr bwMode="gray">
            <a:xfrm>
              <a:off x="9470739" y="5415448"/>
              <a:ext cx="501703" cy="42214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  <a:effectLst>
              <a:glow rad="177800">
                <a:schemeClr val="bg1">
                  <a:alpha val="0"/>
                </a:schemeClr>
              </a:glow>
              <a:outerShdw dist="50800" sx="1000" sy="1000" algn="ctr" rotWithShape="0">
                <a:schemeClr val="bg1"/>
              </a:outerShdw>
              <a:reflection endPos="0" dist="50800" dir="5400000" sy="-100000" algn="bl" rotWithShape="0"/>
            </a:effectLst>
          </p:spPr>
          <p:txBody>
            <a:bodyPr lIns="89954" tIns="71962" rIns="89954" bIns="71962" rtlCol="0" anchor="t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DE" sz="1000" b="1" ker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3" name="Rectangle 153">
              <a:extLst>
                <a:ext uri="{FF2B5EF4-FFF2-40B4-BE49-F238E27FC236}">
                  <a16:creationId xmlns:a16="http://schemas.microsoft.com/office/drawing/2014/main" id="{5B6F0F9B-96FB-4B42-9C99-C9C6394EF224}"/>
                </a:ext>
              </a:extLst>
            </p:cNvPr>
            <p:cNvSpPr/>
            <p:nvPr/>
          </p:nvSpPr>
          <p:spPr bwMode="gray">
            <a:xfrm>
              <a:off x="7790115" y="5415448"/>
              <a:ext cx="501703" cy="42214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  <a:effectLst>
              <a:glow rad="177800">
                <a:schemeClr val="bg1">
                  <a:alpha val="0"/>
                </a:schemeClr>
              </a:glow>
              <a:outerShdw dist="50800" sx="1000" sy="1000" algn="ctr" rotWithShape="0">
                <a:schemeClr val="bg1"/>
              </a:outerShdw>
              <a:reflection endPos="0" dist="50800" dir="5400000" sy="-100000" algn="bl" rotWithShape="0"/>
            </a:effectLst>
          </p:spPr>
          <p:txBody>
            <a:bodyPr lIns="89954" tIns="71962" rIns="89954" bIns="71962" rtlCol="0" anchor="t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DE" sz="1000" b="1" ker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33C8D7F-6722-8D48-B1EB-915DBB060D74}"/>
              </a:ext>
            </a:extLst>
          </p:cNvPr>
          <p:cNvGrpSpPr/>
          <p:nvPr/>
        </p:nvGrpSpPr>
        <p:grpSpPr>
          <a:xfrm>
            <a:off x="8157681" y="4953298"/>
            <a:ext cx="1934268" cy="145652"/>
            <a:chOff x="8002805" y="5643594"/>
            <a:chExt cx="1934268" cy="145652"/>
          </a:xfrm>
        </p:grpSpPr>
        <p:pic>
          <p:nvPicPr>
            <p:cNvPr id="152" name="Picture 16">
              <a:extLst>
                <a:ext uri="{FF2B5EF4-FFF2-40B4-BE49-F238E27FC236}">
                  <a16:creationId xmlns:a16="http://schemas.microsoft.com/office/drawing/2014/main" id="{1DD92DE5-2B71-0746-B9DF-7396DB1E47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2805" y="5648458"/>
              <a:ext cx="268912" cy="1370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3" name="Picture 16">
              <a:extLst>
                <a:ext uri="{FF2B5EF4-FFF2-40B4-BE49-F238E27FC236}">
                  <a16:creationId xmlns:a16="http://schemas.microsoft.com/office/drawing/2014/main" id="{C6BAE219-4D43-0640-86E6-346DB91993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4443" y="5643594"/>
              <a:ext cx="268912" cy="1370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" name="Picture 16">
              <a:extLst>
                <a:ext uri="{FF2B5EF4-FFF2-40B4-BE49-F238E27FC236}">
                  <a16:creationId xmlns:a16="http://schemas.microsoft.com/office/drawing/2014/main" id="{081A5E93-9307-954B-AD9D-AAFBBBA826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26662" y="5643594"/>
              <a:ext cx="268912" cy="1370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5" name="Picture 16">
              <a:extLst>
                <a:ext uri="{FF2B5EF4-FFF2-40B4-BE49-F238E27FC236}">
                  <a16:creationId xmlns:a16="http://schemas.microsoft.com/office/drawing/2014/main" id="{48B8F75F-5978-4D42-9789-318E44FC00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68161" y="5652164"/>
              <a:ext cx="268912" cy="1370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C037841-7B3E-C44B-9487-64FC7041205F}"/>
              </a:ext>
            </a:extLst>
          </p:cNvPr>
          <p:cNvGrpSpPr/>
          <p:nvPr/>
        </p:nvGrpSpPr>
        <p:grpSpPr>
          <a:xfrm>
            <a:off x="1704390" y="4536034"/>
            <a:ext cx="2624876" cy="514803"/>
            <a:chOff x="1261046" y="5299947"/>
            <a:chExt cx="2624876" cy="514803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504141F0-7B01-2348-9EB0-8695B5270C7E}"/>
                </a:ext>
              </a:extLst>
            </p:cNvPr>
            <p:cNvSpPr/>
            <p:nvPr/>
          </p:nvSpPr>
          <p:spPr bwMode="gray">
            <a:xfrm>
              <a:off x="1261046" y="5353544"/>
              <a:ext cx="207707" cy="203686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 w="9525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0000" tIns="72000" rIns="90000" bIns="72000" rtlCol="0" anchor="ctr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DE" sz="1800" kern="0" err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0" name="Rounded Rectangle 109">
              <a:extLst>
                <a:ext uri="{FF2B5EF4-FFF2-40B4-BE49-F238E27FC236}">
                  <a16:creationId xmlns:a16="http://schemas.microsoft.com/office/drawing/2014/main" id="{8CF163D8-7E99-2444-9C9E-32C601392F62}"/>
                </a:ext>
              </a:extLst>
            </p:cNvPr>
            <p:cNvSpPr/>
            <p:nvPr/>
          </p:nvSpPr>
          <p:spPr bwMode="gray">
            <a:xfrm>
              <a:off x="1600946" y="5302923"/>
              <a:ext cx="545398" cy="304928"/>
            </a:xfrm>
            <a:prstGeom prst="roundRect">
              <a:avLst>
                <a:gd name="adj" fmla="val 6873"/>
              </a:avLst>
            </a:prstGeom>
            <a:solidFill>
              <a:schemeClr val="bg1">
                <a:lumMod val="95000"/>
                <a:alpha val="3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>
              <a:glow rad="63500">
                <a:schemeClr val="accent3">
                  <a:alpha val="8000"/>
                </a:schemeClr>
              </a:glow>
            </a:effectLst>
          </p:spPr>
          <p:txBody>
            <a:bodyPr lIns="89977" tIns="71981" rIns="89977" bIns="71981" rtlCol="0" anchor="ctr"/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US" sz="1400" kern="0">
                <a:solidFill>
                  <a:srgbClr val="008FD3">
                    <a:lumMod val="75000"/>
                  </a:srgbClr>
                </a:solidFill>
                <a:ea typeface="Arial Unicode MS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C9E31F98-69AB-E040-A8AE-9299F66834CB}"/>
                </a:ext>
              </a:extLst>
            </p:cNvPr>
            <p:cNvCxnSpPr>
              <a:cxnSpLocks/>
              <a:stCxn id="109" idx="6"/>
              <a:endCxn id="110" idx="1"/>
            </p:cNvCxnSpPr>
            <p:nvPr/>
          </p:nvCxnSpPr>
          <p:spPr>
            <a:xfrm>
              <a:off x="1468753" y="5455387"/>
              <a:ext cx="132193" cy="0"/>
            </a:xfrm>
            <a:prstGeom prst="line">
              <a:avLst/>
            </a:prstGeom>
            <a:solidFill>
              <a:schemeClr val="bg1">
                <a:lumMod val="95000"/>
                <a:alpha val="9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>
              <a:glow rad="63500">
                <a:schemeClr val="accent3">
                  <a:alpha val="8000"/>
                </a:schemeClr>
              </a:glow>
            </a:effectLst>
          </p:spPr>
        </p:cxnSp>
        <p:sp>
          <p:nvSpPr>
            <p:cNvPr id="112" name="Rounded Rectangle 111">
              <a:extLst>
                <a:ext uri="{FF2B5EF4-FFF2-40B4-BE49-F238E27FC236}">
                  <a16:creationId xmlns:a16="http://schemas.microsoft.com/office/drawing/2014/main" id="{0B870C7D-1390-7443-9500-1BC7E91DFE56}"/>
                </a:ext>
              </a:extLst>
            </p:cNvPr>
            <p:cNvSpPr/>
            <p:nvPr/>
          </p:nvSpPr>
          <p:spPr bwMode="gray">
            <a:xfrm>
              <a:off x="2308439" y="5301921"/>
              <a:ext cx="530546" cy="304929"/>
            </a:xfrm>
            <a:prstGeom prst="roundRect">
              <a:avLst>
                <a:gd name="adj" fmla="val 6873"/>
              </a:avLst>
            </a:prstGeom>
            <a:solidFill>
              <a:schemeClr val="bg1">
                <a:lumMod val="95000"/>
                <a:alpha val="3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>
              <a:glow rad="63500">
                <a:schemeClr val="accent3">
                  <a:alpha val="8000"/>
                </a:schemeClr>
              </a:glow>
            </a:effectLst>
          </p:spPr>
          <p:txBody>
            <a:bodyPr lIns="89977" tIns="71981" rIns="89977" bIns="71981" rtlCol="0" anchor="ctr"/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US" sz="1400" kern="0">
                <a:solidFill>
                  <a:srgbClr val="008FD3">
                    <a:lumMod val="75000"/>
                  </a:srgbClr>
                </a:solidFill>
                <a:ea typeface="Arial Unicode MS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8B9342E-7F0C-7542-9E9D-E17A04D4E07A}"/>
                </a:ext>
              </a:extLst>
            </p:cNvPr>
            <p:cNvCxnSpPr>
              <a:cxnSpLocks/>
              <a:stCxn id="110" idx="3"/>
              <a:endCxn id="112" idx="1"/>
            </p:cNvCxnSpPr>
            <p:nvPr/>
          </p:nvCxnSpPr>
          <p:spPr>
            <a:xfrm flipV="1">
              <a:off x="2146344" y="5454386"/>
              <a:ext cx="162095" cy="1001"/>
            </a:xfrm>
            <a:prstGeom prst="line">
              <a:avLst/>
            </a:prstGeom>
            <a:solidFill>
              <a:schemeClr val="bg1">
                <a:lumMod val="95000"/>
                <a:alpha val="9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>
              <a:glow rad="63500">
                <a:schemeClr val="accent3">
                  <a:alpha val="8000"/>
                </a:schemeClr>
              </a:glow>
            </a:effectLst>
          </p:spPr>
        </p:cxnSp>
        <p:sp>
          <p:nvSpPr>
            <p:cNvPr id="114" name="Rounded Rectangle 113">
              <a:extLst>
                <a:ext uri="{FF2B5EF4-FFF2-40B4-BE49-F238E27FC236}">
                  <a16:creationId xmlns:a16="http://schemas.microsoft.com/office/drawing/2014/main" id="{5F84FEE8-930A-5442-B2E5-D5C4009379B8}"/>
                </a:ext>
              </a:extLst>
            </p:cNvPr>
            <p:cNvSpPr/>
            <p:nvPr/>
          </p:nvSpPr>
          <p:spPr bwMode="gray">
            <a:xfrm>
              <a:off x="2981538" y="5299947"/>
              <a:ext cx="570506" cy="304929"/>
            </a:xfrm>
            <a:prstGeom prst="roundRect">
              <a:avLst>
                <a:gd name="adj" fmla="val 6873"/>
              </a:avLst>
            </a:prstGeom>
            <a:solidFill>
              <a:schemeClr val="bg1">
                <a:lumMod val="95000"/>
                <a:alpha val="3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>
              <a:glow rad="63500">
                <a:schemeClr val="accent3">
                  <a:alpha val="8000"/>
                </a:schemeClr>
              </a:glow>
            </a:effectLst>
          </p:spPr>
          <p:txBody>
            <a:bodyPr lIns="89977" tIns="71981" rIns="89977" bIns="71981" rtlCol="0" anchor="ctr"/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US" sz="1400" kern="0">
                <a:solidFill>
                  <a:srgbClr val="008FD3">
                    <a:lumMod val="75000"/>
                  </a:srgbClr>
                </a:solidFill>
                <a:ea typeface="Arial Unicode MS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E1D84353-BF7D-794D-8D4D-3C4B4BE63C87}"/>
                </a:ext>
              </a:extLst>
            </p:cNvPr>
            <p:cNvCxnSpPr>
              <a:cxnSpLocks/>
              <a:stCxn id="112" idx="3"/>
              <a:endCxn id="114" idx="1"/>
            </p:cNvCxnSpPr>
            <p:nvPr/>
          </p:nvCxnSpPr>
          <p:spPr>
            <a:xfrm flipV="1">
              <a:off x="2838985" y="5452412"/>
              <a:ext cx="142553" cy="1974"/>
            </a:xfrm>
            <a:prstGeom prst="line">
              <a:avLst/>
            </a:prstGeom>
            <a:solidFill>
              <a:schemeClr val="bg1">
                <a:lumMod val="95000"/>
                <a:alpha val="9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>
              <a:glow rad="63500">
                <a:schemeClr val="accent3">
                  <a:alpha val="8000"/>
                </a:schemeClr>
              </a:glow>
            </a:effectLst>
          </p:spPr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CA105E0-C291-874A-9E52-D9D8F7FAB59E}"/>
                </a:ext>
              </a:extLst>
            </p:cNvPr>
            <p:cNvCxnSpPr>
              <a:cxnSpLocks/>
              <a:stCxn id="114" idx="3"/>
              <a:endCxn id="117" idx="2"/>
            </p:cNvCxnSpPr>
            <p:nvPr/>
          </p:nvCxnSpPr>
          <p:spPr>
            <a:xfrm flipV="1">
              <a:off x="3552044" y="5450002"/>
              <a:ext cx="133562" cy="2410"/>
            </a:xfrm>
            <a:prstGeom prst="line">
              <a:avLst/>
            </a:prstGeom>
            <a:solidFill>
              <a:schemeClr val="bg1">
                <a:lumMod val="95000"/>
                <a:alpha val="9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>
              <a:glow rad="63500">
                <a:schemeClr val="accent3">
                  <a:alpha val="8000"/>
                </a:schemeClr>
              </a:glow>
            </a:effectLst>
          </p:spPr>
        </p:cxn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2E95C0E-FC81-2643-A000-66EEA4955A4B}"/>
                </a:ext>
              </a:extLst>
            </p:cNvPr>
            <p:cNvSpPr/>
            <p:nvPr/>
          </p:nvSpPr>
          <p:spPr bwMode="gray">
            <a:xfrm>
              <a:off x="3685606" y="5350360"/>
              <a:ext cx="200316" cy="199284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 w="44450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0000" tIns="72000" rIns="90000" bIns="72000" rtlCol="0" anchor="ctr"/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DE" sz="18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51" name="Picture 16">
              <a:extLst>
                <a:ext uri="{FF2B5EF4-FFF2-40B4-BE49-F238E27FC236}">
                  <a16:creationId xmlns:a16="http://schemas.microsoft.com/office/drawing/2014/main" id="{F4D93D22-B823-2342-A2DA-0B8B72C7B3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2259" y="5677668"/>
              <a:ext cx="268912" cy="1370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6" name="Picture 16">
            <a:extLst>
              <a:ext uri="{FF2B5EF4-FFF2-40B4-BE49-F238E27FC236}">
                <a16:creationId xmlns:a16="http://schemas.microsoft.com/office/drawing/2014/main" id="{654DEFEA-7389-E44C-BB00-DEC8E1AA3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50152" y="4904031"/>
            <a:ext cx="268912" cy="137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Graphic 87" descr="Gears with solid fill">
            <a:extLst>
              <a:ext uri="{FF2B5EF4-FFF2-40B4-BE49-F238E27FC236}">
                <a16:creationId xmlns:a16="http://schemas.microsoft.com/office/drawing/2014/main" id="{1EA9DDF6-0529-FA4E-B090-832851332FF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492" t="5449" r="15177" b="49816"/>
          <a:stretch/>
        </p:blipFill>
        <p:spPr>
          <a:xfrm>
            <a:off x="6723770" y="4625055"/>
            <a:ext cx="164455" cy="158784"/>
          </a:xfrm>
          <a:prstGeom prst="rect">
            <a:avLst/>
          </a:prstGeom>
        </p:spPr>
      </p:pic>
      <p:sp>
        <p:nvSpPr>
          <p:cNvPr id="9" name="Hexagon 8">
            <a:extLst>
              <a:ext uri="{FF2B5EF4-FFF2-40B4-BE49-F238E27FC236}">
                <a16:creationId xmlns:a16="http://schemas.microsoft.com/office/drawing/2014/main" id="{1E4131AC-E5DB-FF40-A070-29455A4C1A47}"/>
              </a:ext>
            </a:extLst>
          </p:cNvPr>
          <p:cNvSpPr/>
          <p:nvPr/>
        </p:nvSpPr>
        <p:spPr bwMode="gray">
          <a:xfrm>
            <a:off x="5344325" y="6576058"/>
            <a:ext cx="198997" cy="125609"/>
          </a:xfrm>
          <a:prstGeom prst="hexagon">
            <a:avLst/>
          </a:prstGeom>
          <a:solidFill>
            <a:schemeClr val="bg1"/>
          </a:solid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800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" name="Hexagon 83">
            <a:extLst>
              <a:ext uri="{FF2B5EF4-FFF2-40B4-BE49-F238E27FC236}">
                <a16:creationId xmlns:a16="http://schemas.microsoft.com/office/drawing/2014/main" id="{DC707BE9-AD77-D54E-9CA1-8613C273B168}"/>
              </a:ext>
            </a:extLst>
          </p:cNvPr>
          <p:cNvSpPr/>
          <p:nvPr/>
        </p:nvSpPr>
        <p:spPr bwMode="gray">
          <a:xfrm>
            <a:off x="5240594" y="4649189"/>
            <a:ext cx="198997" cy="125609"/>
          </a:xfrm>
          <a:prstGeom prst="hexagon">
            <a:avLst/>
          </a:prstGeom>
          <a:solidFill>
            <a:schemeClr val="bg1">
              <a:lumMod val="95000"/>
              <a:alpha val="30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400" kern="0" err="1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85" name="Hexagon 84">
            <a:extLst>
              <a:ext uri="{FF2B5EF4-FFF2-40B4-BE49-F238E27FC236}">
                <a16:creationId xmlns:a16="http://schemas.microsoft.com/office/drawing/2014/main" id="{C4BA3F00-03AF-6144-AEAA-D958FE2285E3}"/>
              </a:ext>
            </a:extLst>
          </p:cNvPr>
          <p:cNvSpPr/>
          <p:nvPr/>
        </p:nvSpPr>
        <p:spPr bwMode="gray">
          <a:xfrm>
            <a:off x="1732745" y="4637214"/>
            <a:ext cx="143513" cy="105861"/>
          </a:xfrm>
          <a:prstGeom prst="hexagon">
            <a:avLst/>
          </a:prstGeom>
          <a:solidFill>
            <a:schemeClr val="bg1">
              <a:lumMod val="95000"/>
              <a:alpha val="30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400" kern="0" err="1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86" name="Hexagon 85">
            <a:extLst>
              <a:ext uri="{FF2B5EF4-FFF2-40B4-BE49-F238E27FC236}">
                <a16:creationId xmlns:a16="http://schemas.microsoft.com/office/drawing/2014/main" id="{412A4C03-7B3F-4447-A3E3-F7E52634B1E3}"/>
              </a:ext>
            </a:extLst>
          </p:cNvPr>
          <p:cNvSpPr/>
          <p:nvPr/>
        </p:nvSpPr>
        <p:spPr bwMode="gray">
          <a:xfrm>
            <a:off x="8024171" y="4728578"/>
            <a:ext cx="198997" cy="125609"/>
          </a:xfrm>
          <a:prstGeom prst="hexagon">
            <a:avLst/>
          </a:prstGeom>
          <a:solidFill>
            <a:schemeClr val="bg1">
              <a:lumMod val="95000"/>
              <a:alpha val="30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400" kern="0" err="1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87" name="Hexagon 86">
            <a:extLst>
              <a:ext uri="{FF2B5EF4-FFF2-40B4-BE49-F238E27FC236}">
                <a16:creationId xmlns:a16="http://schemas.microsoft.com/office/drawing/2014/main" id="{7D660E46-E1F2-5E4A-A0F7-FA2FD273091B}"/>
              </a:ext>
            </a:extLst>
          </p:cNvPr>
          <p:cNvSpPr/>
          <p:nvPr/>
        </p:nvSpPr>
        <p:spPr bwMode="gray">
          <a:xfrm>
            <a:off x="9109019" y="4733995"/>
            <a:ext cx="198997" cy="125609"/>
          </a:xfrm>
          <a:prstGeom prst="hexagon">
            <a:avLst/>
          </a:prstGeom>
          <a:solidFill>
            <a:schemeClr val="bg1">
              <a:lumMod val="95000"/>
              <a:alpha val="30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>
            <a:glow rad="63500">
              <a:schemeClr val="accent3">
                <a:alpha val="8000"/>
              </a:schemeClr>
            </a:glo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1400" kern="0" err="1">
              <a:solidFill>
                <a:srgbClr val="008FD3">
                  <a:lumMod val="75000"/>
                </a:srgb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pic>
        <p:nvPicPr>
          <p:cNvPr id="91" name="Graphic 90" descr="Gears with solid fill">
            <a:extLst>
              <a:ext uri="{FF2B5EF4-FFF2-40B4-BE49-F238E27FC236}">
                <a16:creationId xmlns:a16="http://schemas.microsoft.com/office/drawing/2014/main" id="{E33E5307-AFA7-AD45-81E3-8374B126F14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492" t="5449" r="15177" b="49816"/>
          <a:stretch/>
        </p:blipFill>
        <p:spPr>
          <a:xfrm>
            <a:off x="9674326" y="4707641"/>
            <a:ext cx="164455" cy="158784"/>
          </a:xfrm>
          <a:prstGeom prst="rect">
            <a:avLst/>
          </a:prstGeom>
        </p:spPr>
      </p:pic>
      <p:pic>
        <p:nvPicPr>
          <p:cNvPr id="93" name="Graphic 92" descr="Gears with solid fill">
            <a:extLst>
              <a:ext uri="{FF2B5EF4-FFF2-40B4-BE49-F238E27FC236}">
                <a16:creationId xmlns:a16="http://schemas.microsoft.com/office/drawing/2014/main" id="{5ADBB32B-BA78-D540-B064-A9711D0F982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8492" t="5449" r="15177" b="49816"/>
          <a:stretch/>
        </p:blipFill>
        <p:spPr>
          <a:xfrm>
            <a:off x="8540231" y="4707641"/>
            <a:ext cx="164455" cy="15878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6A52BF-85D8-7A4E-B0D8-E873D116EF3E}"/>
              </a:ext>
            </a:extLst>
          </p:cNvPr>
          <p:cNvCxnSpPr>
            <a:cxnSpLocks/>
          </p:cNvCxnSpPr>
          <p:nvPr/>
        </p:nvCxnSpPr>
        <p:spPr>
          <a:xfrm>
            <a:off x="1602904" y="3758307"/>
            <a:ext cx="9093419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>
            <a:extLst>
              <a:ext uri="{FF2B5EF4-FFF2-40B4-BE49-F238E27FC236}">
                <a16:creationId xmlns:a16="http://schemas.microsoft.com/office/drawing/2014/main" id="{484375CA-AAEF-5D41-8E85-07F804A80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457" y="504000"/>
            <a:ext cx="11183564" cy="646331"/>
          </a:xfrm>
        </p:spPr>
        <p:txBody>
          <a:bodyPr/>
          <a:lstStyle/>
          <a:p>
            <a:r>
              <a:rPr lang="en-DE"/>
              <a:t>Process </a:t>
            </a:r>
            <a:r>
              <a:rPr lang="en-US"/>
              <a:t>A</a:t>
            </a:r>
            <a:r>
              <a:rPr lang="en-DE"/>
              <a:t>utomation is at the core of </a:t>
            </a:r>
            <a:r>
              <a:rPr lang="en-US"/>
              <a:t>c</a:t>
            </a:r>
            <a:r>
              <a:rPr lang="en-DE"/>
              <a:t>loud </a:t>
            </a:r>
            <a:r>
              <a:rPr lang="en-US"/>
              <a:t>b</a:t>
            </a:r>
            <a:r>
              <a:rPr lang="en-DE"/>
              <a:t>usiness </a:t>
            </a:r>
            <a:r>
              <a:rPr lang="en-US"/>
              <a:t>a</a:t>
            </a:r>
            <a:r>
              <a:rPr lang="en-DE"/>
              <a:t>pplications</a:t>
            </a:r>
            <a:br>
              <a:rPr lang="en-DE" sz="3200"/>
            </a:br>
            <a:r>
              <a:rPr lang="en-DE" sz="1800" b="0">
                <a:solidFill>
                  <a:schemeClr val="accent1"/>
                </a:solidFill>
              </a:rPr>
              <a:t>Expanding from embedded to cross-LoB is an imperative to serve customer needs</a:t>
            </a:r>
            <a:endParaRPr lang="de-DE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F3DCF36-4D6E-8E46-BE68-25FD5B569CCB}"/>
              </a:ext>
            </a:extLst>
          </p:cNvPr>
          <p:cNvSpPr txBox="1"/>
          <p:nvPr/>
        </p:nvSpPr>
        <p:spPr>
          <a:xfrm>
            <a:off x="1732745" y="5232396"/>
            <a:ext cx="259652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800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Examples</a:t>
            </a:r>
            <a: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: </a:t>
            </a:r>
            <a:b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One-step sales order approvals</a:t>
            </a:r>
          </a:p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…</a:t>
            </a:r>
            <a:endParaRPr lang="en-DE" sz="800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6002A6C8-0671-7D46-A57B-D3D174D76728}"/>
              </a:ext>
            </a:extLst>
          </p:cNvPr>
          <p:cNvSpPr txBox="1"/>
          <p:nvPr/>
        </p:nvSpPr>
        <p:spPr>
          <a:xfrm>
            <a:off x="7944991" y="5223572"/>
            <a:ext cx="263470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800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Example: </a:t>
            </a:r>
            <a:b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DE" sz="800" i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Lead-to-Order Workflow</a:t>
            </a:r>
            <a: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: orchestration of </a:t>
            </a:r>
            <a:r>
              <a:rPr lang="en-GB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l</a:t>
            </a:r>
            <a:r>
              <a:rPr lang="en-GB" sz="800" kern="0" err="1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ead</a:t>
            </a:r>
            <a:r>
              <a:rPr lang="en-GB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creation, opportunity conversion, sales quotation creation in SAP Configure, Price, Quote (CPQ) to posting the newly created order in S/4HANA Sales Cloud. </a:t>
            </a:r>
            <a:endParaRPr lang="en-DE" sz="800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573E485-1F21-FF48-9A17-F39AB5B7E936}"/>
              </a:ext>
            </a:extLst>
          </p:cNvPr>
          <p:cNvSpPr txBox="1"/>
          <p:nvPr/>
        </p:nvSpPr>
        <p:spPr>
          <a:xfrm>
            <a:off x="4869010" y="5201526"/>
            <a:ext cx="218114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800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Examples: </a:t>
            </a:r>
            <a:b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Automatic creation of Sales Orders from XLS </a:t>
            </a:r>
          </a:p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Multi-step approval of Sales Orders</a:t>
            </a:r>
          </a:p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DE" sz="800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Multi-approval steps to manage Credit Block on Sales Orders (S/4HANA)</a:t>
            </a:r>
          </a:p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DE" sz="800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CC96F7A-A446-2E42-B896-E226F0FC837C}"/>
              </a:ext>
            </a:extLst>
          </p:cNvPr>
          <p:cNvGrpSpPr/>
          <p:nvPr/>
        </p:nvGrpSpPr>
        <p:grpSpPr>
          <a:xfrm>
            <a:off x="2134738" y="1998884"/>
            <a:ext cx="7813071" cy="1390539"/>
            <a:chOff x="2134738" y="1998884"/>
            <a:chExt cx="7813071" cy="1390539"/>
          </a:xfrm>
        </p:grpSpPr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E19271AF-DC87-DD4B-BC2B-F52BE5FED3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34738" y="1998884"/>
              <a:ext cx="7813071" cy="1390539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18D993F-E76C-BB4C-B375-1968EA446492}"/>
                </a:ext>
              </a:extLst>
            </p:cNvPr>
            <p:cNvSpPr/>
            <p:nvPr/>
          </p:nvSpPr>
          <p:spPr bwMode="gray">
            <a:xfrm>
              <a:off x="2134738" y="2010314"/>
              <a:ext cx="1290144" cy="46999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DE" sz="18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637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42265" y="3824797"/>
            <a:ext cx="744279" cy="959855"/>
            <a:chOff x="382773" y="3824797"/>
            <a:chExt cx="744279" cy="959855"/>
          </a:xfrm>
        </p:grpSpPr>
        <p:sp>
          <p:nvSpPr>
            <p:cNvPr id="6" name="Rectangle: Folded Corner 5"/>
            <p:cNvSpPr/>
            <p:nvPr/>
          </p:nvSpPr>
          <p:spPr bwMode="gray">
            <a:xfrm rot="10800000">
              <a:off x="382773" y="3824797"/>
              <a:ext cx="744279" cy="959855"/>
            </a:xfrm>
            <a:prstGeom prst="foldedCorner">
              <a:avLst>
                <a:gd name="adj" fmla="val 38096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504001" y="42211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504001" y="43735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04001" y="45259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504001" y="46783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/>
          <p:cNvGrpSpPr/>
          <p:nvPr/>
        </p:nvGrpSpPr>
        <p:grpSpPr>
          <a:xfrm>
            <a:off x="2122321" y="2902349"/>
            <a:ext cx="2626242" cy="1533719"/>
            <a:chOff x="2669818" y="2771005"/>
            <a:chExt cx="2626242" cy="1533719"/>
          </a:xfrm>
        </p:grpSpPr>
        <p:sp>
          <p:nvSpPr>
            <p:cNvPr id="13" name="Rectangle: Rounded Corners 12"/>
            <p:cNvSpPr/>
            <p:nvPr/>
          </p:nvSpPr>
          <p:spPr bwMode="gray">
            <a:xfrm>
              <a:off x="2724026" y="3130724"/>
              <a:ext cx="2409615" cy="1174000"/>
            </a:xfrm>
            <a:prstGeom prst="roundRect">
              <a:avLst/>
            </a:prstGeom>
            <a:solidFill>
              <a:schemeClr val="bg1"/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669818" y="2771005"/>
              <a:ext cx="262624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200" kern="0" dirty="0">
                  <a:ea typeface="Arial Unicode MS" pitchFamily="34" charset="-128"/>
                  <a:cs typeface="Arial Unicode MS" pitchFamily="34" charset="-128"/>
                </a:rPr>
                <a:t>SAP S/4HANA Cloud Prebuilt Bot</a:t>
              </a:r>
            </a:p>
          </p:txBody>
        </p:sp>
      </p:grpSp>
      <p:cxnSp>
        <p:nvCxnSpPr>
          <p:cNvPr id="16" name="Connector: Curved 15"/>
          <p:cNvCxnSpPr>
            <a:cxnSpLocks/>
            <a:endCxn id="13" idx="1"/>
          </p:cNvCxnSpPr>
          <p:nvPr/>
        </p:nvCxnSpPr>
        <p:spPr>
          <a:xfrm rot="16200000" flipH="1">
            <a:off x="1340246" y="3012785"/>
            <a:ext cx="883314" cy="789252"/>
          </a:xfrm>
          <a:prstGeom prst="curvedConnector2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/>
          <p:cNvCxnSpPr>
            <a:cxnSpLocks/>
            <a:stCxn id="6" idx="1"/>
            <a:endCxn id="13" idx="1"/>
          </p:cNvCxnSpPr>
          <p:nvPr/>
        </p:nvCxnSpPr>
        <p:spPr>
          <a:xfrm flipV="1">
            <a:off x="1286544" y="3849068"/>
            <a:ext cx="889985" cy="455656"/>
          </a:xfrm>
          <a:prstGeom prst="curvedConnector3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351430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</p:cNvCxnSpPr>
          <p:nvPr/>
        </p:nvCxnSpPr>
        <p:spPr>
          <a:xfrm flipV="1">
            <a:off x="4586144" y="3830743"/>
            <a:ext cx="57176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5194894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343703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7547127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8295451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444901" y="3325144"/>
            <a:ext cx="190985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B85F259-F89C-46B7-B279-D041CCFB0002}"/>
              </a:ext>
            </a:extLst>
          </p:cNvPr>
          <p:cNvGrpSpPr/>
          <p:nvPr/>
        </p:nvGrpSpPr>
        <p:grpSpPr>
          <a:xfrm>
            <a:off x="592631" y="2302213"/>
            <a:ext cx="744279" cy="959855"/>
            <a:chOff x="382773" y="3824797"/>
            <a:chExt cx="744279" cy="959855"/>
          </a:xfrm>
        </p:grpSpPr>
        <p:sp>
          <p:nvSpPr>
            <p:cNvPr id="38" name="Rectangle: Folded Corner 37">
              <a:extLst>
                <a:ext uri="{FF2B5EF4-FFF2-40B4-BE49-F238E27FC236}">
                  <a16:creationId xmlns:a16="http://schemas.microsoft.com/office/drawing/2014/main" id="{CF2367DB-8C42-4349-BF55-C28247358062}"/>
                </a:ext>
              </a:extLst>
            </p:cNvPr>
            <p:cNvSpPr/>
            <p:nvPr/>
          </p:nvSpPr>
          <p:spPr bwMode="gray">
            <a:xfrm rot="10800000">
              <a:off x="382773" y="3824797"/>
              <a:ext cx="744279" cy="959855"/>
            </a:xfrm>
            <a:prstGeom prst="foldedCorner">
              <a:avLst>
                <a:gd name="adj" fmla="val 38096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A26BD3E9-0F92-4F31-B1B9-295435A17057}"/>
                </a:ext>
              </a:extLst>
            </p:cNvPr>
            <p:cNvCxnSpPr/>
            <p:nvPr/>
          </p:nvCxnSpPr>
          <p:spPr>
            <a:xfrm>
              <a:off x="504001" y="42211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4BBFC08B-74BF-41A2-942B-F94DC1E4C915}"/>
                </a:ext>
              </a:extLst>
            </p:cNvPr>
            <p:cNvCxnSpPr/>
            <p:nvPr/>
          </p:nvCxnSpPr>
          <p:spPr>
            <a:xfrm>
              <a:off x="504001" y="43735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5F39741-C912-4F09-86D1-30E48A2C0A03}"/>
                </a:ext>
              </a:extLst>
            </p:cNvPr>
            <p:cNvCxnSpPr/>
            <p:nvPr/>
          </p:nvCxnSpPr>
          <p:spPr>
            <a:xfrm>
              <a:off x="504001" y="45259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0E98769-44AE-46B5-B851-E9A4C45C21A6}"/>
                </a:ext>
              </a:extLst>
            </p:cNvPr>
            <p:cNvCxnSpPr/>
            <p:nvPr/>
          </p:nvCxnSpPr>
          <p:spPr>
            <a:xfrm>
              <a:off x="504001" y="46783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D75B06A-C3CA-4BC0-BD30-726B84901B10}"/>
              </a:ext>
            </a:extLst>
          </p:cNvPr>
          <p:cNvSpPr txBox="1"/>
          <p:nvPr/>
        </p:nvSpPr>
        <p:spPr>
          <a:xfrm>
            <a:off x="602076" y="1670562"/>
            <a:ext cx="144673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Source Files (Excel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373515" y="4569208"/>
            <a:ext cx="55840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  <a:stCxn id="67" idx="0"/>
            <a:endCxn id="56" idx="1"/>
          </p:cNvCxnSpPr>
          <p:nvPr/>
        </p:nvCxnSpPr>
        <p:spPr>
          <a:xfrm rot="5400000" flipH="1" flipV="1">
            <a:off x="9224632" y="2636954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7895174" y="983944"/>
            <a:ext cx="3710761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</p:spTree>
    <p:extLst>
      <p:ext uri="{BB962C8B-B14F-4D97-AF65-F5344CB8AC3E}">
        <p14:creationId xmlns:p14="http://schemas.microsoft.com/office/powerpoint/2010/main" val="1957313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54" grpId="0"/>
      <p:bldP spid="70" grpId="0"/>
      <p:bldP spid="5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B09F7-03AC-45F1-8DF7-3FD3748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TechEd sess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47F7E-7168-4BB9-B2ED-DDEFD07C11B6}"/>
              </a:ext>
            </a:extLst>
          </p:cNvPr>
          <p:cNvSpPr txBox="1"/>
          <p:nvPr/>
        </p:nvSpPr>
        <p:spPr>
          <a:xfrm>
            <a:off x="828136" y="1720985"/>
            <a:ext cx="10862341" cy="40979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2"/>
              </a:rPr>
              <a:t>Improve, Automate and Extend Business Processes with Low-Code/No-Code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3"/>
              </a:rPr>
              <a:t>Speed Business Transformation with App Development and Automation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4"/>
              </a:rPr>
              <a:t>Extend and Improve Standard Application Processes Easily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en-US" sz="2000" b="1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5"/>
              </a:rPr>
              <a:t>Automate Arvato Systems - Bertelsmann Using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6"/>
              </a:rPr>
              <a:t>Build Process Automations and Extensions to SAP Solution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7"/>
              </a:rPr>
              <a:t>Build Robust Apps Enhanced with Process Automation and Low-Code Tooling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8"/>
              </a:rPr>
              <a:t>Get More from Your Bots: It's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9"/>
              </a:rPr>
              <a:t>Automate Your Invoice Processing with SAP Process Automation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0"/>
              </a:rPr>
              <a:t>Execute Bots in SAP S/4HANA Cloud with SAP Process Automation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1"/>
              </a:rPr>
              <a:t>Driving Intelligent Automation with SAP Integration Suit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446889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7D8A83-3752-43AA-B1BC-825736A321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7D8A83-3752-43AA-B1BC-825736A32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1A3AF5-B530-B241-B4B4-0C4DF157E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043967" y="2351999"/>
            <a:ext cx="11183564" cy="638636"/>
          </a:xfrm>
        </p:spPr>
        <p:txBody>
          <a:bodyPr vert="horz"/>
          <a:lstStyle/>
          <a:p>
            <a:r>
              <a:rPr lang="en-US" sz="2350"/>
              <a:t>Open new career opportunities</a:t>
            </a:r>
            <a:br>
              <a:rPr lang="en-US" sz="2350">
                <a:cs typeface="Arial"/>
              </a:rPr>
            </a:br>
            <a:r>
              <a:rPr lang="en-US" sz="1800" b="0"/>
              <a:t>Join</a:t>
            </a:r>
            <a:r>
              <a:rPr lang="en-US" sz="1800" b="0">
                <a:ea typeface="+mj-lt"/>
                <a:cs typeface="+mj-lt"/>
              </a:rPr>
              <a:t> the community of people with skills for the future</a:t>
            </a:r>
            <a:endParaRPr lang="en-US" sz="1800" b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F2C79A-229F-46E4-B349-2494DA102707}"/>
              </a:ext>
            </a:extLst>
          </p:cNvPr>
          <p:cNvSpPr/>
          <p:nvPr/>
        </p:nvSpPr>
        <p:spPr>
          <a:xfrm>
            <a:off x="505455" y="6241893"/>
            <a:ext cx="1118648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64770" indent="-64770">
              <a:defRPr/>
            </a:pPr>
            <a:r>
              <a:rPr lang="en-US" sz="800"/>
              <a:t>1. </a:t>
            </a:r>
            <a:r>
              <a:rPr lang="en-US" sz="800">
                <a:solidFill>
                  <a:srgbClr val="000000"/>
                </a:solidFill>
                <a:hlinkClick r:id="rId7"/>
              </a:rPr>
              <a:t>Pearson VUE’s Latest “Value of IT Certification” Study Highlights Benefits of IT Certification in Challenging Times,”</a:t>
            </a:r>
            <a:r>
              <a:rPr lang="en-US" sz="800">
                <a:solidFill>
                  <a:srgbClr val="000000"/>
                </a:solidFill>
              </a:rPr>
              <a:t> Pearson Education Inc., May 25, </a:t>
            </a:r>
            <a:r>
              <a:rPr lang="en-US" sz="800"/>
              <a:t>2021.</a:t>
            </a:r>
          </a:p>
          <a:p>
            <a:pPr marL="64770" indent="-64770">
              <a:defRPr/>
            </a:pPr>
            <a:r>
              <a:rPr lang="en-US" sz="800"/>
              <a:t>2. Chuck Cooper, </a:t>
            </a:r>
            <a:r>
              <a:rPr lang="en-US" sz="800">
                <a:hlinkClick r:id="rId8"/>
              </a:rPr>
              <a:t>Why Get IT Certified? The Value of IT Certification: An IT Certification White Paper</a:t>
            </a:r>
            <a:r>
              <a:rPr lang="en-US" sz="800"/>
              <a:t>, IT Certification Council, March 2021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DE68E4-C9C0-46F7-9903-A378E42D73DA}"/>
              </a:ext>
            </a:extLst>
          </p:cNvPr>
          <p:cNvSpPr/>
          <p:nvPr/>
        </p:nvSpPr>
        <p:spPr bwMode="gray">
          <a:xfrm>
            <a:off x="-4274" y="1624747"/>
            <a:ext cx="12192000" cy="102362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89977" tIns="71981" rIns="89977" bIns="71981" rtlCol="0" anchor="ctr"/>
          <a:lstStyle/>
          <a:p>
            <a:pPr>
              <a:spcBef>
                <a:spcPts val="600"/>
              </a:spcBef>
              <a:defRPr/>
            </a:pPr>
            <a:r>
              <a:rPr lang="en-US" sz="1600">
                <a:solidFill>
                  <a:srgbClr val="000000">
                    <a:lumMod val="75000"/>
                    <a:lumOff val="25000"/>
                  </a:srgbClr>
                </a:solidFill>
              </a:rPr>
              <a:t>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1B02FBF-09A2-4A6F-AED7-39896CF726A2}"/>
              </a:ext>
            </a:extLst>
          </p:cNvPr>
          <p:cNvSpPr/>
          <p:nvPr/>
        </p:nvSpPr>
        <p:spPr>
          <a:xfrm>
            <a:off x="5897563" y="1813390"/>
            <a:ext cx="1306471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2800" b="1" kern="0">
                <a:solidFill>
                  <a:schemeClr val="accent3"/>
                </a:solidFill>
                <a:ea typeface="Arial Unicode MS"/>
                <a:cs typeface="Arial Unicode MS"/>
              </a:rPr>
              <a:t>61%</a:t>
            </a:r>
            <a:endParaRPr lang="en-US">
              <a:solidFill>
                <a:schemeClr val="accent3"/>
              </a:solidFill>
              <a:ea typeface="Arial Unicode MS"/>
              <a:cs typeface="Arial Unicode MS"/>
            </a:endParaRPr>
          </a:p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1400"/>
              <a:t>Get promotions</a:t>
            </a:r>
            <a:r>
              <a:rPr lang="en-US" sz="1400" baseline="30000">
                <a:solidFill>
                  <a:srgbClr val="000000"/>
                </a:solidFill>
              </a:rPr>
              <a:t>1</a:t>
            </a:r>
            <a:endParaRPr lang="en-US" sz="1400">
              <a:cs typeface="Arial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B2D7DFC-953F-4EDA-9C0B-67C89AA259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4195" y="1614560"/>
            <a:ext cx="1044000" cy="1044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B6C139E0-C9AE-4EEF-AFDA-2C430FFCDF03}"/>
              </a:ext>
            </a:extLst>
          </p:cNvPr>
          <p:cNvSpPr txBox="1"/>
          <p:nvPr/>
        </p:nvSpPr>
        <p:spPr>
          <a:xfrm>
            <a:off x="1454322" y="1859561"/>
            <a:ext cx="408139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1800" b="1">
                <a:solidFill>
                  <a:srgbClr val="000000"/>
                </a:solidFill>
              </a:rPr>
              <a:t>Check </a:t>
            </a:r>
            <a:r>
              <a:rPr lang="en-US" sz="1800">
                <a:solidFill>
                  <a:srgbClr val="000000"/>
                </a:solidFill>
                <a:hlinkClick r:id="rId10"/>
              </a:rPr>
              <a:t>learning.sap.com/teched</a:t>
            </a:r>
            <a:br>
              <a:rPr lang="en-US" sz="1800">
                <a:solidFill>
                  <a:srgbClr val="000000"/>
                </a:solidFill>
              </a:rPr>
            </a:br>
            <a:r>
              <a:rPr lang="en-US" sz="1800">
                <a:solidFill>
                  <a:srgbClr val="000000"/>
                </a:solidFill>
              </a:rPr>
              <a:t>to benefit like other certified experts: 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87D7A2A-A60B-4C75-BB30-9D236437BE95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0E87ED6-281C-42E2-944F-C3184EE9ED23}"/>
              </a:ext>
            </a:extLst>
          </p:cNvPr>
          <p:cNvGrpSpPr/>
          <p:nvPr/>
        </p:nvGrpSpPr>
        <p:grpSpPr>
          <a:xfrm>
            <a:off x="7644616" y="1813390"/>
            <a:ext cx="1824525" cy="646331"/>
            <a:chOff x="7644914" y="1813389"/>
            <a:chExt cx="1824525" cy="64633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E18954-4CF9-412B-AE2D-BA29A3F7B5A1}"/>
                </a:ext>
              </a:extLst>
            </p:cNvPr>
            <p:cNvSpPr/>
            <p:nvPr/>
          </p:nvSpPr>
          <p:spPr>
            <a:xfrm>
              <a:off x="7644914" y="1813389"/>
              <a:ext cx="772010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4FB81C"/>
                  </a:solidFill>
                  <a:ea typeface="Arial Unicode MS"/>
                  <a:cs typeface="Arial"/>
                </a:rPr>
                <a:t>91%</a:t>
              </a:r>
              <a:endParaRPr lang="en-US" sz="1800">
                <a:solidFill>
                  <a:srgbClr val="4FB81C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0478641-AD9F-43B4-9FD4-EE804A660963}"/>
                </a:ext>
              </a:extLst>
            </p:cNvPr>
            <p:cNvSpPr/>
            <p:nvPr/>
          </p:nvSpPr>
          <p:spPr>
            <a:xfrm>
              <a:off x="8483115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32A16C6-3F5F-4EDB-A61B-FAC4C8405AB4}"/>
                </a:ext>
              </a:extLst>
            </p:cNvPr>
            <p:cNvSpPr/>
            <p:nvPr/>
          </p:nvSpPr>
          <p:spPr>
            <a:xfrm>
              <a:off x="7644914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confidence in abilities</a:t>
              </a:r>
              <a:r>
                <a:rPr lang="en-US" sz="1400" baseline="30000">
                  <a:solidFill>
                    <a:srgbClr val="000000"/>
                  </a:solidFill>
                </a:rPr>
                <a:t>1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EC8A6FF-3E9D-4CA0-9415-3B2CC5E5DAC0}"/>
              </a:ext>
            </a:extLst>
          </p:cNvPr>
          <p:cNvGrpSpPr/>
          <p:nvPr/>
        </p:nvGrpSpPr>
        <p:grpSpPr>
          <a:xfrm>
            <a:off x="9909722" y="1813390"/>
            <a:ext cx="2121726" cy="646331"/>
            <a:chOff x="9908135" y="1813389"/>
            <a:chExt cx="1871248" cy="64633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1C8C6AE-A1D9-4DFC-9DE2-A32258015FC9}"/>
                </a:ext>
              </a:extLst>
            </p:cNvPr>
            <p:cNvSpPr/>
            <p:nvPr/>
          </p:nvSpPr>
          <p:spPr>
            <a:xfrm>
              <a:off x="9908135" y="1813389"/>
              <a:ext cx="863372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008FD3"/>
                  </a:solidFill>
                  <a:ea typeface="Arial Unicode MS"/>
                  <a:cs typeface="Arial Unicode MS"/>
                </a:rPr>
                <a:t>&gt;71%</a:t>
              </a:r>
              <a:endParaRPr lang="en-US" sz="1800">
                <a:solidFill>
                  <a:srgbClr val="008FD3"/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7DBCC9F-4F94-4B75-B36A-9D9618A92868}"/>
                </a:ext>
              </a:extLst>
            </p:cNvPr>
            <p:cNvSpPr/>
            <p:nvPr/>
          </p:nvSpPr>
          <p:spPr>
            <a:xfrm>
              <a:off x="10793059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EDB908-0158-4690-A5F5-D30D4B004546}"/>
                </a:ext>
              </a:extLst>
            </p:cNvPr>
            <p:cNvSpPr/>
            <p:nvPr/>
          </p:nvSpPr>
          <p:spPr>
            <a:xfrm>
              <a:off x="9908135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</a:rPr>
                <a:t>problem-solving skills</a:t>
              </a:r>
              <a:r>
                <a:rPr lang="en-US" sz="1400" baseline="30000">
                  <a:solidFill>
                    <a:srgbClr val="000000"/>
                  </a:solidFill>
                </a:rPr>
                <a:t>2</a:t>
              </a:r>
            </a:p>
          </p:txBody>
        </p:sp>
      </p:grp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8D6815CC-63C3-4442-AC0C-02C53B022EF8}"/>
              </a:ext>
            </a:extLst>
          </p:cNvPr>
          <p:cNvSpPr txBox="1">
            <a:spLocks/>
          </p:cNvSpPr>
          <p:nvPr/>
        </p:nvSpPr>
        <p:spPr bwMode="black">
          <a:xfrm>
            <a:off x="7479556" y="3353578"/>
            <a:ext cx="3521908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Expand your </a:t>
            </a:r>
            <a:br>
              <a:rPr lang="en-US" sz="1600" b="1"/>
            </a:br>
            <a:r>
              <a:rPr lang="en-US" sz="1600" b="1"/>
              <a:t>conference experience: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706C82E7-8658-4021-96EE-47C1E7AC038B}"/>
              </a:ext>
            </a:extLst>
          </p:cNvPr>
          <p:cNvSpPr txBox="1">
            <a:spLocks/>
          </p:cNvSpPr>
          <p:nvPr/>
        </p:nvSpPr>
        <p:spPr bwMode="black">
          <a:xfrm>
            <a:off x="1334131" y="3353578"/>
            <a:ext cx="361093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Become an SAP solution expert – </a:t>
            </a:r>
            <a:br>
              <a:rPr lang="en-US" sz="1600" b="1"/>
            </a:br>
            <a:r>
              <a:rPr lang="en-US" sz="1600" b="1"/>
              <a:t>now as easy as 1,2,3 in one place:</a:t>
            </a:r>
            <a:endParaRPr lang="en-US">
              <a:cs typeface="Arial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137A0DE3-F23B-409F-B62F-7A52BA3E045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4100" y="2884103"/>
            <a:ext cx="1098174" cy="10981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7858A86C-2D08-4A21-A7C4-80C89AF98A6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62700" y="2863762"/>
            <a:ext cx="1098000" cy="10980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BB96E99D-AF25-47DC-AE63-A5CE88E3261B}"/>
              </a:ext>
            </a:extLst>
          </p:cNvPr>
          <p:cNvGrpSpPr/>
          <p:nvPr/>
        </p:nvGrpSpPr>
        <p:grpSpPr>
          <a:xfrm>
            <a:off x="5287012" y="4144743"/>
            <a:ext cx="605788" cy="518412"/>
            <a:chOff x="4573952" y="4284443"/>
            <a:chExt cx="605788" cy="518412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2E5D088-AE95-4411-ABCA-09B8EA46C23D}"/>
                </a:ext>
              </a:extLst>
            </p:cNvPr>
            <p:cNvSpPr/>
            <p:nvPr/>
          </p:nvSpPr>
          <p:spPr bwMode="gray">
            <a:xfrm>
              <a:off x="4573952" y="43259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58" name="Graphic 57" descr="New with solid fill">
              <a:extLst>
                <a:ext uri="{FF2B5EF4-FFF2-40B4-BE49-F238E27FC236}">
                  <a16:creationId xmlns:a16="http://schemas.microsoft.com/office/drawing/2014/main" id="{4BD57D32-6460-4AC6-873B-21B497127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4956056" y="4284443"/>
              <a:ext cx="223684" cy="223684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94A698-2A5B-4F31-8132-8D559DD4ADD9}"/>
              </a:ext>
            </a:extLst>
          </p:cNvPr>
          <p:cNvGrpSpPr/>
          <p:nvPr/>
        </p:nvGrpSpPr>
        <p:grpSpPr>
          <a:xfrm>
            <a:off x="11048598" y="4144743"/>
            <a:ext cx="616578" cy="518412"/>
            <a:chOff x="11047011" y="4220943"/>
            <a:chExt cx="616578" cy="51841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D78089C-41A0-411E-97D6-BD386DD3F18D}"/>
                </a:ext>
              </a:extLst>
            </p:cNvPr>
            <p:cNvSpPr/>
            <p:nvPr/>
          </p:nvSpPr>
          <p:spPr bwMode="gray">
            <a:xfrm>
              <a:off x="11047011" y="42624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1" name="Graphic 60" descr="New with solid fill">
              <a:extLst>
                <a:ext uri="{FF2B5EF4-FFF2-40B4-BE49-F238E27FC236}">
                  <a16:creationId xmlns:a16="http://schemas.microsoft.com/office/drawing/2014/main" id="{5E86CDF7-8704-479B-B584-8AE9E6986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11439905" y="4220943"/>
              <a:ext cx="223684" cy="22368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D7994D9-DAD3-4A5A-8AEA-8A1DF7E953C9}"/>
              </a:ext>
            </a:extLst>
          </p:cNvPr>
          <p:cNvGrpSpPr/>
          <p:nvPr/>
        </p:nvGrpSpPr>
        <p:grpSpPr>
          <a:xfrm>
            <a:off x="11048598" y="5056685"/>
            <a:ext cx="616578" cy="486662"/>
            <a:chOff x="11047011" y="5252818"/>
            <a:chExt cx="616578" cy="486662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A1B935D-16DA-4AD6-B08F-5A825E64E5E3}"/>
                </a:ext>
              </a:extLst>
            </p:cNvPr>
            <p:cNvSpPr/>
            <p:nvPr/>
          </p:nvSpPr>
          <p:spPr bwMode="gray">
            <a:xfrm>
              <a:off x="11047011" y="5262564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4" name="Graphic 63" descr="New with solid fill">
              <a:extLst>
                <a:ext uri="{FF2B5EF4-FFF2-40B4-BE49-F238E27FC236}">
                  <a16:creationId xmlns:a16="http://schemas.microsoft.com/office/drawing/2014/main" id="{76707426-0CAB-445F-9B93-6251F70A72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11439905" y="5252818"/>
              <a:ext cx="223684" cy="22368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231E530-E477-468D-9D89-66391E0FAF80}"/>
              </a:ext>
            </a:extLst>
          </p:cNvPr>
          <p:cNvGrpSpPr/>
          <p:nvPr/>
        </p:nvGrpSpPr>
        <p:grpSpPr>
          <a:xfrm>
            <a:off x="5287012" y="5056685"/>
            <a:ext cx="605788" cy="518412"/>
            <a:chOff x="4587726" y="5177335"/>
            <a:chExt cx="605788" cy="51841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1685918-084E-419F-9F2A-5981411FA8E3}"/>
                </a:ext>
              </a:extLst>
            </p:cNvPr>
            <p:cNvSpPr/>
            <p:nvPr/>
          </p:nvSpPr>
          <p:spPr bwMode="gray">
            <a:xfrm>
              <a:off x="4587726" y="5218831"/>
              <a:ext cx="478092" cy="476916"/>
            </a:xfrm>
            <a:prstGeom prst="ellipse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>
              <a:defPPr>
                <a:defRPr lang="en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SAP TechEd OFFER</a:t>
              </a:r>
            </a:p>
          </p:txBody>
        </p:sp>
        <p:pic>
          <p:nvPicPr>
            <p:cNvPr id="67" name="Graphic 22" descr="New with solid fill">
              <a:extLst>
                <a:ext uri="{FF2B5EF4-FFF2-40B4-BE49-F238E27FC236}">
                  <a16:creationId xmlns:a16="http://schemas.microsoft.com/office/drawing/2014/main" id="{820F2744-C7B4-4161-8B80-90D4EB1FF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10800000">
              <a:off x="4969830" y="5177335"/>
              <a:ext cx="223684" cy="223684"/>
            </a:xfrm>
            <a:prstGeom prst="rect">
              <a:avLst/>
            </a:prstGeom>
          </p:spPr>
        </p:pic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063F240-398A-4D7B-B8E1-FC9A8DDD655F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339C549-48B9-4109-8618-70CE962DC424}"/>
              </a:ext>
            </a:extLst>
          </p:cNvPr>
          <p:cNvSpPr txBox="1">
            <a:spLocks/>
          </p:cNvSpPr>
          <p:nvPr/>
        </p:nvSpPr>
        <p:spPr bwMode="black">
          <a:xfrm>
            <a:off x="6381019" y="4210827"/>
            <a:ext cx="4644168" cy="17081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Connect with experts, share your knowledge, expand your network, and collaborate with </a:t>
            </a:r>
            <a:br>
              <a:rPr lang="en-US" sz="1600"/>
            </a:br>
            <a:r>
              <a:rPr lang="en-US" sz="1600"/>
              <a:t>peers in </a:t>
            </a:r>
            <a:r>
              <a:rPr lang="en-US" sz="1600" b="1"/>
              <a:t>SAP Community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Network with other participants in the group for </a:t>
            </a:r>
            <a:r>
              <a:rPr lang="en-US" sz="1600" b="1">
                <a:hlinkClick r:id="rId15"/>
              </a:rPr>
              <a:t>SAP TechEd</a:t>
            </a:r>
            <a:r>
              <a:rPr lang="en-US" sz="1600"/>
              <a:t> and join the </a:t>
            </a:r>
            <a:r>
              <a:rPr lang="en-US" sz="1600" b="1">
                <a:hlinkClick r:id="rId16"/>
              </a:rPr>
              <a:t>SAP Learning Groups</a:t>
            </a:r>
            <a:r>
              <a:rPr lang="en-US" sz="1600" b="1"/>
              <a:t> </a:t>
            </a:r>
            <a:r>
              <a:rPr lang="en-US" sz="1600"/>
              <a:t>to get your learning questions answered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693DA4C-CE0B-4C21-BD86-A4BE4F139B20}"/>
              </a:ext>
            </a:extLst>
          </p:cNvPr>
          <p:cNvSpPr txBox="1">
            <a:spLocks/>
          </p:cNvSpPr>
          <p:nvPr/>
        </p:nvSpPr>
        <p:spPr bwMode="black">
          <a:xfrm>
            <a:off x="504827" y="4210828"/>
            <a:ext cx="5008561" cy="146193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Follow expert-led </a:t>
            </a:r>
            <a:r>
              <a:rPr lang="en-US" sz="1600" b="1"/>
              <a:t>l</a:t>
            </a:r>
            <a:r>
              <a:rPr lang="en-US" sz="1600" b="1">
                <a:ea typeface="+mn-lt"/>
                <a:cs typeface="+mn-lt"/>
              </a:rPr>
              <a:t>earning journeys </a:t>
            </a:r>
            <a:r>
              <a:rPr lang="en-US" sz="1600" b="1"/>
              <a:t>and live sessions</a:t>
            </a:r>
            <a:r>
              <a:rPr lang="en-US" sz="1600"/>
              <a:t> for various development roles </a:t>
            </a:r>
            <a:br>
              <a:rPr lang="en-US" sz="1600"/>
            </a:br>
            <a:r>
              <a:rPr lang="en-US" sz="1600"/>
              <a:t>to upskill and </a:t>
            </a:r>
            <a:r>
              <a:rPr lang="en-US" sz="1600" b="1">
                <a:ea typeface="+mn-lt"/>
                <a:cs typeface="+mn-lt"/>
              </a:rPr>
              <a:t>prepare for certification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Benefit from the </a:t>
            </a:r>
            <a:r>
              <a:rPr lang="en-US" sz="1600" b="1"/>
              <a:t>event-exclusive </a:t>
            </a:r>
            <a:br>
              <a:rPr lang="en-US" sz="1600" b="1"/>
            </a:br>
            <a:r>
              <a:rPr lang="en-US" sz="1600" b="1"/>
              <a:t>certification offer </a:t>
            </a:r>
            <a:endParaRPr lang="en-US" sz="1600" b="1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14F6D3-F0CC-4943-BF14-0DE81EC1DEEC}"/>
              </a:ext>
            </a:extLst>
          </p:cNvPr>
          <p:cNvSpPr/>
          <p:nvPr/>
        </p:nvSpPr>
        <p:spPr bwMode="gray">
          <a:xfrm>
            <a:off x="0" y="-331597"/>
            <a:ext cx="4914900" cy="301445"/>
          </a:xfrm>
          <a:prstGeom prst="rect">
            <a:avLst/>
          </a:prstGeom>
          <a:solidFill>
            <a:srgbClr val="FF0000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Mandatory Slide - Talk track available in the notes</a:t>
            </a:r>
          </a:p>
        </p:txBody>
      </p:sp>
    </p:spTree>
    <p:extLst>
      <p:ext uri="{BB962C8B-B14F-4D97-AF65-F5344CB8AC3E}">
        <p14:creationId xmlns:p14="http://schemas.microsoft.com/office/powerpoint/2010/main" val="41882100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descr="{&quot;templafy&quot;:{&quot;id&quot;:&quot;c5795077-d4a2-4854-b837-dc0c6a3645fe&quot;}}">
            <a:extLst>
              <a:ext uri="{FF2B5EF4-FFF2-40B4-BE49-F238E27FC236}">
                <a16:creationId xmlns:a16="http://schemas.microsoft.com/office/drawing/2014/main" id="{E8CBF4DD-15EB-47C8-94C8-492FB092CB97}"/>
              </a:ext>
            </a:extLst>
          </p:cNvPr>
          <p:cNvSpPr txBox="1"/>
          <p:nvPr/>
        </p:nvSpPr>
        <p:spPr>
          <a:xfrm>
            <a:off x="503238" y="357486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Oren.Shatil@SAP.com</a:t>
            </a:r>
          </a:p>
        </p:txBody>
      </p:sp>
      <p:sp>
        <p:nvSpPr>
          <p:cNvPr id="3" name="TextBox 2" descr="{&quot;templafy&quot;:{&quot;id&quot;:&quot;a94a922e-fddc-4f84-84f2-24578e6ee879&quot;}}">
            <a:extLst>
              <a:ext uri="{FF2B5EF4-FFF2-40B4-BE49-F238E27FC236}">
                <a16:creationId xmlns:a16="http://schemas.microsoft.com/office/drawing/2014/main" id="{F02EFDEC-1C58-4504-92E1-D8E4DBCFE8FE}"/>
              </a:ext>
            </a:extLst>
          </p:cNvPr>
          <p:cNvSpPr txBox="1"/>
          <p:nvPr/>
        </p:nvSpPr>
        <p:spPr>
          <a:xfrm>
            <a:off x="503238" y="335171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Oren Shatil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Box 1" descr="Acquired company logo placeholder">
            <a:extLst>
              <a:ext uri="{FF2B5EF4-FFF2-40B4-BE49-F238E27FC236}">
                <a16:creationId xmlns:a16="http://schemas.microsoft.com/office/drawing/2014/main" id="{8E0C940A-4E11-488C-B1B7-10F1A11687FC}"/>
              </a:ext>
            </a:extLst>
          </p:cNvPr>
          <p:cNvSpPr txBox="1"/>
          <p:nvPr/>
        </p:nvSpPr>
        <p:spPr>
          <a:xfrm>
            <a:off x="504000" y="585782"/>
            <a:ext cx="41163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err="1">
              <a:ea typeface="Arial Unicode MS" pitchFamily="34" charset="-128"/>
              <a:cs typeface="Arial Unicode MS" pitchFamily="34" charset="-128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40209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 items"/>
          <p:cNvSpPr>
            <a:spLocks noGrp="1"/>
          </p:cNvSpPr>
          <p:nvPr>
            <p:ph type="body" sz="quarter" idx="10"/>
          </p:nvPr>
        </p:nvSpPr>
        <p:spPr bwMode="gray">
          <a:xfrm>
            <a:off x="504000" y="1620000"/>
            <a:ext cx="11185200" cy="4716000"/>
          </a:xfrm>
        </p:spPr>
        <p:txBody>
          <a:bodyPr/>
          <a:lstStyle/>
          <a:p>
            <a:r>
              <a:rPr lang="en-US" dirty="0"/>
              <a:t>SAP Build Process Automation </a:t>
            </a:r>
          </a:p>
          <a:p>
            <a:pPr lvl="1"/>
            <a:r>
              <a:rPr lang="en-US" dirty="0"/>
              <a:t>Introduction</a:t>
            </a:r>
            <a:endParaRPr lang="en-US" b="0" i="0" dirty="0">
              <a:solidFill>
                <a:srgbClr val="32363A"/>
              </a:solidFill>
              <a:effectLst/>
              <a:latin typeface="72" panose="020B0503030000000003" pitchFamily="34" charset="0"/>
            </a:endParaRP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olution Overvie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AP S/4HANA Cloud Out-of-Box Prebuilt Content</a:t>
            </a:r>
            <a:endParaRPr lang="en-US" dirty="0"/>
          </a:p>
          <a:p>
            <a:r>
              <a:rPr lang="en-US" dirty="0"/>
              <a:t>Hands-on Exercise - Extend SAP S/4HANA Prebuilt Content with Workflow</a:t>
            </a:r>
          </a:p>
          <a:p>
            <a:pPr lvl="1"/>
            <a:r>
              <a:rPr lang="en-US" dirty="0"/>
              <a:t>Use case - </a:t>
            </a:r>
            <a:r>
              <a:rPr lang="en-US" b="0" i="0" dirty="0">
                <a:solidFill>
                  <a:srgbClr val="32363A"/>
                </a:solidFill>
                <a:effectLst/>
                <a:latin typeface="72" panose="020B0503030000000003" pitchFamily="34" charset="0"/>
              </a:rPr>
              <a:t>Create Purchase Requisitions from Excel (48M)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Hands-on Exercise Flow</a:t>
            </a:r>
            <a:endParaRPr lang="en-US" dirty="0"/>
          </a:p>
        </p:txBody>
      </p:sp>
      <p:sp>
        <p:nvSpPr>
          <p:cNvPr id="2" name="Agenda"/>
          <p:cNvSpPr>
            <a:spLocks noGrp="1"/>
          </p:cNvSpPr>
          <p:nvPr>
            <p:ph type="title"/>
          </p:nvPr>
        </p:nvSpPr>
        <p:spPr bwMode="gray"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custData r:id="rId1"/>
      <p:custData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AP Build </a:t>
            </a:r>
            <a:r>
              <a:rPr lang="en-US" dirty="0"/>
              <a:t>Process Automation </a:t>
            </a:r>
          </a:p>
        </p:txBody>
      </p:sp>
    </p:spTree>
    <p:extLst>
      <p:ext uri="{BB962C8B-B14F-4D97-AF65-F5344CB8AC3E}">
        <p14:creationId xmlns:p14="http://schemas.microsoft.com/office/powerpoint/2010/main" val="917131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FEC7F8C-BB4C-4AF7-AE7F-B7BA0AAE2C29}"/>
              </a:ext>
            </a:extLst>
          </p:cNvPr>
          <p:cNvSpPr txBox="1">
            <a:spLocks/>
          </p:cNvSpPr>
          <p:nvPr/>
        </p:nvSpPr>
        <p:spPr bwMode="black">
          <a:xfrm>
            <a:off x="1362654" y="3433575"/>
            <a:ext cx="2557297" cy="1727658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8" lvl="1" indent="-7938">
              <a:spcBef>
                <a:spcPts val="1800"/>
              </a:spcBef>
              <a:buSzPct val="80000"/>
              <a:buNone/>
            </a:pPr>
            <a:r>
              <a:rPr lang="en-US" b="1">
                <a:solidFill>
                  <a:schemeClr val="accent1"/>
                </a:solidFill>
              </a:rPr>
              <a:t>SAP Intelligent Robotic Process Automation</a:t>
            </a:r>
          </a:p>
          <a:p>
            <a:pPr marL="0" lvl="1" indent="0">
              <a:spcBef>
                <a:spcPts val="400"/>
              </a:spcBef>
              <a:buSzPct val="75000"/>
              <a:buNone/>
            </a:pPr>
            <a:r>
              <a:rPr lang="en-US" sz="1100" b="1"/>
              <a:t>Starting from</a:t>
            </a:r>
          </a:p>
          <a:p>
            <a:pPr marL="185738" lvl="1" indent="-18573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All automation capabilities, same runtime </a:t>
            </a:r>
            <a:br>
              <a:rPr lang="en-US" sz="1100"/>
            </a:br>
            <a:r>
              <a:rPr lang="en-DE" sz="1100"/>
              <a:t>– no migration efforts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Automation components, application, data, </a:t>
            </a:r>
            <a:br>
              <a:rPr lang="de-DE" sz="1100"/>
            </a:br>
            <a:r>
              <a:rPr lang="en-DE" sz="1100"/>
              <a:t>automations as reusable components</a:t>
            </a:r>
          </a:p>
          <a:p>
            <a:pPr marL="185738" lvl="1" indent="-18573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Side-by-side usage with reuse of </a:t>
            </a:r>
            <a:br>
              <a:rPr lang="en-US" sz="1100"/>
            </a:br>
            <a:r>
              <a:rPr lang="en-DE" sz="1100"/>
              <a:t>existing bot content</a:t>
            </a:r>
            <a:endParaRPr lang="en-US" sz="1100"/>
          </a:p>
          <a:p>
            <a:endParaRPr lang="en-DE" sz="12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5B32532-5FB6-4995-93C5-33AD979DB27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710" y="1796863"/>
            <a:ext cx="871130" cy="87113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8D44546-5C12-4083-B323-5A4D19540C6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275" y="3734816"/>
            <a:ext cx="871128" cy="871130"/>
          </a:xfrm>
          <a:prstGeom prst="rect">
            <a:avLst/>
          </a:prstGeom>
        </p:spPr>
      </p:pic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1BA4CE9E-0E77-435B-9448-422F9A71F7C9}"/>
              </a:ext>
            </a:extLst>
          </p:cNvPr>
          <p:cNvSpPr txBox="1">
            <a:spLocks/>
          </p:cNvSpPr>
          <p:nvPr/>
        </p:nvSpPr>
        <p:spPr bwMode="black">
          <a:xfrm>
            <a:off x="1362654" y="5486099"/>
            <a:ext cx="6208532" cy="1074890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SzPct val="75000"/>
              <a:buNone/>
            </a:pPr>
            <a:r>
              <a:rPr lang="de-DE" b="1">
                <a:solidFill>
                  <a:schemeClr val="accent1"/>
                </a:solidFill>
              </a:rPr>
              <a:t>New customers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de-DE" sz="1050"/>
              <a:t>Explore </a:t>
            </a:r>
            <a:r>
              <a:rPr lang="de-DE" sz="1050" b="1"/>
              <a:t>no-code </a:t>
            </a:r>
            <a:r>
              <a:rPr lang="en-DE" sz="1050" b="1"/>
              <a:t>process automations </a:t>
            </a:r>
            <a:r>
              <a:rPr lang="en-DE" sz="1050"/>
              <a:t>with a </a:t>
            </a:r>
            <a:r>
              <a:rPr lang="en-DE" sz="1050" b="1"/>
              <a:t>citizen developer experience 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050"/>
              <a:t>Build simple forms and </a:t>
            </a:r>
            <a:r>
              <a:rPr lang="en-DE" sz="1050" b="1"/>
              <a:t>departmental process improvements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050"/>
              <a:t>Benefit from a growing list of </a:t>
            </a:r>
            <a:r>
              <a:rPr lang="en-DE" sz="1050" b="1"/>
              <a:t>prebuilt business content </a:t>
            </a:r>
            <a:r>
              <a:rPr lang="en-DE" sz="1050"/>
              <a:t>and new skills 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82AA573-6CF3-B24C-8DAD-B4DCFEE22F48}"/>
              </a:ext>
            </a:extLst>
          </p:cNvPr>
          <p:cNvGrpSpPr/>
          <p:nvPr/>
        </p:nvGrpSpPr>
        <p:grpSpPr>
          <a:xfrm>
            <a:off x="236517" y="5486099"/>
            <a:ext cx="1002323" cy="1242185"/>
            <a:chOff x="2197629" y="4130443"/>
            <a:chExt cx="781537" cy="976267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1869B63-A11A-0045-8331-F6A80D6B1A97}"/>
                </a:ext>
              </a:extLst>
            </p:cNvPr>
            <p:cNvSpPr/>
            <p:nvPr/>
          </p:nvSpPr>
          <p:spPr>
            <a:xfrm>
              <a:off x="2197629" y="4798933"/>
              <a:ext cx="1847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en-US" sz="1400">
                <a:solidFill>
                  <a:schemeClr val="accent3"/>
                </a:solidFill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2F44D965-212E-5440-BA8E-D0936DDB3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8065" y="4130443"/>
              <a:ext cx="681101" cy="681101"/>
            </a:xfrm>
            <a:prstGeom prst="rect">
              <a:avLst/>
            </a:prstGeom>
          </p:spPr>
        </p:pic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E3E67ABD-E297-43E6-94D6-5A99108C388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0745" y="1917656"/>
            <a:ext cx="1707285" cy="1707285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46D5DA5E-8410-40BA-8A7E-CF9127CBE375}"/>
              </a:ext>
            </a:extLst>
          </p:cNvPr>
          <p:cNvSpPr/>
          <p:nvPr/>
        </p:nvSpPr>
        <p:spPr bwMode="gray">
          <a:xfrm>
            <a:off x="9825068" y="3448704"/>
            <a:ext cx="2568890" cy="82013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1088558" fontAlgn="base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Pct val="80000"/>
              <a:tabLst/>
            </a:pPr>
            <a:r>
              <a:rPr lang="en-US" sz="1800" b="1">
                <a:solidFill>
                  <a:schemeClr val="accent3"/>
                </a:solidFill>
                <a:latin typeface="+mn-lt"/>
              </a:rPr>
              <a:t>SAP Process Automation</a:t>
            </a:r>
            <a:endParaRPr lang="en-DE" sz="1800" b="1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D40B87B-9C79-452B-9A1D-D67D6A0ACAC7}"/>
              </a:ext>
            </a:extLst>
          </p:cNvPr>
          <p:cNvSpPr txBox="1"/>
          <p:nvPr/>
        </p:nvSpPr>
        <p:spPr>
          <a:xfrm>
            <a:off x="4263381" y="3715100"/>
            <a:ext cx="2867910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>
              <a:spcBef>
                <a:spcPts val="400"/>
              </a:spcBef>
              <a:buSzPct val="75000"/>
              <a:buNone/>
            </a:pPr>
            <a:r>
              <a:rPr lang="en-US" sz="1100" b="1"/>
              <a:t>Looking for</a:t>
            </a:r>
            <a:endParaRPr lang="en-DE" sz="1100" b="1"/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>
                <a:latin typeface="+mn-lt"/>
              </a:rPr>
              <a:t>Additional </a:t>
            </a:r>
            <a:r>
              <a:rPr lang="en-DE" sz="1100" b="1">
                <a:latin typeface="+mn-lt"/>
              </a:rPr>
              <a:t>citizen developer experience </a:t>
            </a:r>
            <a:r>
              <a:rPr lang="en-DE" sz="1100">
                <a:latin typeface="+mn-lt"/>
              </a:rPr>
              <a:t>for automating </a:t>
            </a:r>
            <a:br>
              <a:rPr lang="en-US" sz="1100">
                <a:latin typeface="+mn-lt"/>
              </a:rPr>
            </a:br>
            <a:r>
              <a:rPr lang="en-DE" sz="1100" b="1">
                <a:latin typeface="+mn-lt"/>
              </a:rPr>
              <a:t>E2E business processes</a:t>
            </a:r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 b="1">
                <a:latin typeface="+mn-lt"/>
              </a:rPr>
              <a:t>Additional artifacts </a:t>
            </a:r>
            <a:r>
              <a:rPr lang="en-US" sz="1100">
                <a:latin typeface="+mn-lt"/>
              </a:rPr>
              <a:t>such as f</a:t>
            </a:r>
            <a:r>
              <a:rPr lang="en-DE" sz="1100" err="1">
                <a:latin typeface="+mn-lt"/>
              </a:rPr>
              <a:t>orms</a:t>
            </a:r>
            <a:r>
              <a:rPr lang="en-DE" sz="1100">
                <a:latin typeface="+mn-lt"/>
              </a:rPr>
              <a:t>, business decision rules</a:t>
            </a:r>
            <a:r>
              <a:rPr lang="en-US" sz="1100">
                <a:latin typeface="+mn-lt"/>
              </a:rPr>
              <a:t>,</a:t>
            </a:r>
            <a:r>
              <a:rPr lang="en-DE" sz="1100">
                <a:latin typeface="+mn-lt"/>
              </a:rPr>
              <a:t> and process visibility</a:t>
            </a:r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 b="1">
                <a:latin typeface="+mn-lt"/>
              </a:rPr>
              <a:t>RPA content </a:t>
            </a:r>
            <a:r>
              <a:rPr lang="en-DE" sz="1100">
                <a:latin typeface="+mn-lt"/>
              </a:rPr>
              <a:t>plus growing new content artifacts (templates, skills) </a:t>
            </a:r>
          </a:p>
        </p:txBody>
      </p:sp>
      <p:sp>
        <p:nvSpPr>
          <p:cNvPr id="70" name="Text Placeholder 1">
            <a:extLst>
              <a:ext uri="{FF2B5EF4-FFF2-40B4-BE49-F238E27FC236}">
                <a16:creationId xmlns:a16="http://schemas.microsoft.com/office/drawing/2014/main" id="{2CBAD4A3-6144-45F5-B6EF-3BEAF076A1D6}"/>
              </a:ext>
            </a:extLst>
          </p:cNvPr>
          <p:cNvSpPr txBox="1">
            <a:spLocks/>
          </p:cNvSpPr>
          <p:nvPr/>
        </p:nvSpPr>
        <p:spPr bwMode="black">
          <a:xfrm>
            <a:off x="1367817" y="1325077"/>
            <a:ext cx="1782951" cy="17986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8" indent="-7938"/>
            <a:r>
              <a:rPr lang="en-US" sz="1800" b="1">
                <a:solidFill>
                  <a:schemeClr val="accent1"/>
                </a:solidFill>
              </a:rPr>
              <a:t>SAP Workflow Management</a:t>
            </a:r>
            <a:endParaRPr lang="en-DE" sz="1800" b="1">
              <a:solidFill>
                <a:schemeClr val="accent1"/>
              </a:solidFill>
            </a:endParaRPr>
          </a:p>
          <a:p>
            <a:pPr marL="0" lvl="1" indent="0">
              <a:spcBef>
                <a:spcPts val="400"/>
              </a:spcBef>
              <a:buSzPct val="75000"/>
              <a:buNone/>
            </a:pPr>
            <a:r>
              <a:rPr lang="en-US" sz="1100" b="1"/>
              <a:t>Starting from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All workflow management capabilities, </a:t>
            </a:r>
            <a:br>
              <a:rPr lang="en-US" sz="1100"/>
            </a:br>
            <a:r>
              <a:rPr lang="en-DE" sz="1100"/>
              <a:t>same runtime – no migration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Workflow components, process steps</a:t>
            </a:r>
            <a:r>
              <a:rPr lang="en-US" sz="1100"/>
              <a:t>,</a:t>
            </a:r>
            <a:r>
              <a:rPr lang="en-DE" sz="1100"/>
              <a:t> </a:t>
            </a:r>
            <a:br>
              <a:rPr lang="en-US" sz="1100"/>
            </a:br>
            <a:r>
              <a:rPr lang="en-DE" sz="1100"/>
              <a:t>and business rules as reusable artifacts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Side-by-side usage with reuse of existing </a:t>
            </a:r>
            <a:br>
              <a:rPr lang="en-US" sz="1100"/>
            </a:br>
            <a:r>
              <a:rPr lang="en-DE" sz="1100"/>
              <a:t>content </a:t>
            </a:r>
            <a:r>
              <a:rPr lang="en-US" sz="1100"/>
              <a:t>and</a:t>
            </a:r>
            <a:r>
              <a:rPr lang="en-DE" sz="1100"/>
              <a:t> workflow editor (LCAP)</a:t>
            </a:r>
            <a:endParaRPr lang="en-US" sz="110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60ADEC2-3BC5-43DF-BDF8-927A4B0E7D45}"/>
              </a:ext>
            </a:extLst>
          </p:cNvPr>
          <p:cNvSpPr txBox="1"/>
          <p:nvPr/>
        </p:nvSpPr>
        <p:spPr>
          <a:xfrm>
            <a:off x="4255400" y="1693498"/>
            <a:ext cx="2206204" cy="13798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>
              <a:spcBef>
                <a:spcPts val="400"/>
              </a:spcBef>
              <a:buSzPct val="75000"/>
              <a:buNone/>
            </a:pPr>
            <a:r>
              <a:rPr lang="en-US" sz="1100" b="1"/>
              <a:t>Looking for</a:t>
            </a:r>
            <a:endParaRPr lang="en-DE" sz="1100" b="1"/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>
                <a:latin typeface="+mn-lt"/>
              </a:rPr>
              <a:t>Additional </a:t>
            </a:r>
            <a:r>
              <a:rPr lang="en-DE" sz="1100" b="1">
                <a:latin typeface="+mn-lt"/>
              </a:rPr>
              <a:t>citizen developer user experience </a:t>
            </a:r>
            <a:r>
              <a:rPr lang="en-DE" sz="1100">
                <a:latin typeface="+mn-lt"/>
              </a:rPr>
              <a:t>including native RPA/process builder</a:t>
            </a:r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 b="1">
                <a:latin typeface="+mn-lt"/>
              </a:rPr>
              <a:t>Live process content </a:t>
            </a:r>
            <a:r>
              <a:rPr lang="en-DE" sz="1100">
                <a:latin typeface="+mn-lt"/>
              </a:rPr>
              <a:t>plus growing new content artifacts (templates, skills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8A4D65A-D2FF-498B-AFEE-0ADC07062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ath to SAP Process Automation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Move to process automation at your own speed or make a fresh start</a:t>
            </a:r>
            <a:endParaRPr lang="de-DE" b="0" dirty="0">
              <a:solidFill>
                <a:schemeClr val="accent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E119FF9-9688-4999-82DC-CE14EB26F678}"/>
              </a:ext>
            </a:extLst>
          </p:cNvPr>
          <p:cNvSpPr/>
          <p:nvPr/>
        </p:nvSpPr>
        <p:spPr bwMode="gray">
          <a:xfrm>
            <a:off x="9905834" y="3510106"/>
            <a:ext cx="180000" cy="180000"/>
          </a:xfrm>
          <a:prstGeom prst="ellipse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90647B98-1FF4-014D-A80C-D4B9A776E7BC}"/>
              </a:ext>
            </a:extLst>
          </p:cNvPr>
          <p:cNvSpPr/>
          <p:nvPr/>
        </p:nvSpPr>
        <p:spPr bwMode="gray">
          <a:xfrm>
            <a:off x="4592172" y="1480483"/>
            <a:ext cx="5285877" cy="1948641"/>
          </a:xfrm>
          <a:custGeom>
            <a:avLst/>
            <a:gdLst>
              <a:gd name="connsiteX0" fmla="*/ 1903757 w 5285877"/>
              <a:gd name="connsiteY0" fmla="*/ 0 h 1948641"/>
              <a:gd name="connsiteX1" fmla="*/ 5256400 w 5285877"/>
              <a:gd name="connsiteY1" fmla="*/ 1819700 h 1948641"/>
              <a:gd name="connsiteX2" fmla="*/ 5285877 w 5285877"/>
              <a:gd name="connsiteY2" fmla="*/ 1919163 h 1948641"/>
              <a:gd name="connsiteX3" fmla="*/ 5186416 w 5285877"/>
              <a:gd name="connsiteY3" fmla="*/ 1948641 h 1948641"/>
              <a:gd name="connsiteX4" fmla="*/ 1868539 w 5285877"/>
              <a:gd name="connsiteY4" fmla="*/ 147811 h 1948641"/>
              <a:gd name="connsiteX5" fmla="*/ 0 w 5285877"/>
              <a:gd name="connsiteY5" fmla="*/ 147811 h 1948641"/>
              <a:gd name="connsiteX6" fmla="*/ 0 w 5285877"/>
              <a:gd name="connsiteY6" fmla="*/ 1102 h 1948641"/>
              <a:gd name="connsiteX7" fmla="*/ 1902352 w 5285877"/>
              <a:gd name="connsiteY7" fmla="*/ 1102 h 1948641"/>
              <a:gd name="connsiteX8" fmla="*/ 1902352 w 5285877"/>
              <a:gd name="connsiteY8" fmla="*/ 2588 h 1948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85877" h="1948641">
                <a:moveTo>
                  <a:pt x="1903757" y="0"/>
                </a:moveTo>
                <a:lnTo>
                  <a:pt x="5256400" y="1819700"/>
                </a:lnTo>
                <a:lnTo>
                  <a:pt x="5285877" y="1919163"/>
                </a:lnTo>
                <a:lnTo>
                  <a:pt x="5186416" y="1948641"/>
                </a:lnTo>
                <a:lnTo>
                  <a:pt x="1868539" y="147811"/>
                </a:lnTo>
                <a:lnTo>
                  <a:pt x="0" y="147811"/>
                </a:lnTo>
                <a:lnTo>
                  <a:pt x="0" y="1102"/>
                </a:lnTo>
                <a:lnTo>
                  <a:pt x="1902352" y="1102"/>
                </a:lnTo>
                <a:lnTo>
                  <a:pt x="1902352" y="2588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25400" algn="ctr">
            <a:noFill/>
            <a:miter lim="800000"/>
            <a:headEnd/>
            <a:tailEnd/>
          </a:ln>
        </p:spPr>
        <p:txBody>
          <a:bodyPr wrap="square" lIns="90000" tIns="72000" rIns="90000" bIns="72000" rtlCol="0" anchor="ctr">
            <a:noAutofit/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DE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8149E57A-6038-5A46-8146-13C42C85AF08}"/>
              </a:ext>
            </a:extLst>
          </p:cNvPr>
          <p:cNvSpPr/>
          <p:nvPr/>
        </p:nvSpPr>
        <p:spPr bwMode="gray">
          <a:xfrm>
            <a:off x="4595906" y="3778874"/>
            <a:ext cx="5278790" cy="1948641"/>
          </a:xfrm>
          <a:custGeom>
            <a:avLst/>
            <a:gdLst>
              <a:gd name="connsiteX0" fmla="*/ 5179329 w 5278790"/>
              <a:gd name="connsiteY0" fmla="*/ 0 h 1948641"/>
              <a:gd name="connsiteX1" fmla="*/ 5278790 w 5278790"/>
              <a:gd name="connsiteY1" fmla="*/ 29478 h 1948641"/>
              <a:gd name="connsiteX2" fmla="*/ 5249313 w 5278790"/>
              <a:gd name="connsiteY2" fmla="*/ 128941 h 1948641"/>
              <a:gd name="connsiteX3" fmla="*/ 1902352 w 5278790"/>
              <a:gd name="connsiteY3" fmla="*/ 1945556 h 1948641"/>
              <a:gd name="connsiteX4" fmla="*/ 1902352 w 5278790"/>
              <a:gd name="connsiteY4" fmla="*/ 1946925 h 1948641"/>
              <a:gd name="connsiteX5" fmla="*/ 1899831 w 5278790"/>
              <a:gd name="connsiteY5" fmla="*/ 1946925 h 1948641"/>
              <a:gd name="connsiteX6" fmla="*/ 1896670 w 5278790"/>
              <a:gd name="connsiteY6" fmla="*/ 1948641 h 1948641"/>
              <a:gd name="connsiteX7" fmla="*/ 1895739 w 5278790"/>
              <a:gd name="connsiteY7" fmla="*/ 1946925 h 1948641"/>
              <a:gd name="connsiteX8" fmla="*/ 0 w 5278790"/>
              <a:gd name="connsiteY8" fmla="*/ 1946925 h 1948641"/>
              <a:gd name="connsiteX9" fmla="*/ 0 w 5278790"/>
              <a:gd name="connsiteY9" fmla="*/ 1800216 h 1948641"/>
              <a:gd name="connsiteX10" fmla="*/ 1862583 w 5278790"/>
              <a:gd name="connsiteY10" fmla="*/ 1800216 h 1948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78790" h="1948641">
                <a:moveTo>
                  <a:pt x="5179329" y="0"/>
                </a:moveTo>
                <a:lnTo>
                  <a:pt x="5278790" y="29478"/>
                </a:lnTo>
                <a:lnTo>
                  <a:pt x="5249313" y="128941"/>
                </a:lnTo>
                <a:lnTo>
                  <a:pt x="1902352" y="1945556"/>
                </a:lnTo>
                <a:lnTo>
                  <a:pt x="1902352" y="1946925"/>
                </a:lnTo>
                <a:lnTo>
                  <a:pt x="1899831" y="1946925"/>
                </a:lnTo>
                <a:lnTo>
                  <a:pt x="1896670" y="1948641"/>
                </a:lnTo>
                <a:lnTo>
                  <a:pt x="1895739" y="1946925"/>
                </a:lnTo>
                <a:lnTo>
                  <a:pt x="0" y="1946925"/>
                </a:lnTo>
                <a:lnTo>
                  <a:pt x="0" y="1800216"/>
                </a:lnTo>
                <a:lnTo>
                  <a:pt x="1862583" y="18002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25400" algn="ctr">
            <a:noFill/>
            <a:miter lim="800000"/>
            <a:headEnd/>
            <a:tailEnd/>
          </a:ln>
        </p:spPr>
        <p:txBody>
          <a:bodyPr wrap="square" lIns="90000" tIns="72000" rIns="90000" bIns="72000" rtlCol="0" anchor="ctr">
            <a:noAutofit/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DE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Pentagon 30">
            <a:extLst>
              <a:ext uri="{FF2B5EF4-FFF2-40B4-BE49-F238E27FC236}">
                <a16:creationId xmlns:a16="http://schemas.microsoft.com/office/drawing/2014/main" id="{8B7062DE-E7C7-8F44-8026-155085DFD0EF}"/>
              </a:ext>
            </a:extLst>
          </p:cNvPr>
          <p:cNvSpPr/>
          <p:nvPr/>
        </p:nvSpPr>
        <p:spPr bwMode="gray">
          <a:xfrm>
            <a:off x="6461603" y="3533411"/>
            <a:ext cx="3363465" cy="146709"/>
          </a:xfrm>
          <a:prstGeom prst="homePlate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DE" sz="1800" kern="0" err="1"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6144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35">
            <a:extLst>
              <a:ext uri="{FF2B5EF4-FFF2-40B4-BE49-F238E27FC236}">
                <a16:creationId xmlns:a16="http://schemas.microsoft.com/office/drawing/2014/main" id="{0D036C97-149C-4105-9DBD-BDE6BA8E561B}"/>
              </a:ext>
            </a:extLst>
          </p:cNvPr>
          <p:cNvCxnSpPr>
            <a:cxnSpLocks/>
          </p:cNvCxnSpPr>
          <p:nvPr/>
        </p:nvCxnSpPr>
        <p:spPr>
          <a:xfrm flipH="1">
            <a:off x="10171743" y="3840756"/>
            <a:ext cx="693680" cy="0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14A44D7-FF6E-47E9-BCD0-C94B64E83CD2}"/>
              </a:ext>
            </a:extLst>
          </p:cNvPr>
          <p:cNvSpPr/>
          <p:nvPr/>
        </p:nvSpPr>
        <p:spPr bwMode="gray">
          <a:xfrm>
            <a:off x="2392316" y="1731538"/>
            <a:ext cx="7792278" cy="2891517"/>
          </a:xfrm>
          <a:prstGeom prst="roundRect">
            <a:avLst>
              <a:gd name="adj" fmla="val 2574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6AC0C9-D4A3-4A6C-B3E6-24AC6D296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646331"/>
          </a:xfrm>
        </p:spPr>
        <p:txBody>
          <a:bodyPr/>
          <a:lstStyle/>
          <a:p>
            <a:r>
              <a:rPr lang="en-US" dirty="0"/>
              <a:t>Introducing SAP Build Process Automation 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Capabilities: citizen automation for line-of-business builders</a:t>
            </a:r>
            <a:endParaRPr lang="en-US" b="0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3F34966-0747-4DB3-97AF-67BA96CB8259}"/>
              </a:ext>
            </a:extLst>
          </p:cNvPr>
          <p:cNvGrpSpPr/>
          <p:nvPr/>
        </p:nvGrpSpPr>
        <p:grpSpPr>
          <a:xfrm>
            <a:off x="2438730" y="3248634"/>
            <a:ext cx="1728358" cy="1063558"/>
            <a:chOff x="5786163" y="5290442"/>
            <a:chExt cx="1467131" cy="106355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6B24B7-7089-4EA7-9983-C532F7C972B2}"/>
                </a:ext>
              </a:extLst>
            </p:cNvPr>
            <p:cNvSpPr/>
            <p:nvPr/>
          </p:nvSpPr>
          <p:spPr>
            <a:xfrm>
              <a:off x="5786163" y="6046223"/>
              <a:ext cx="1467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Advanced workflow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3C379CF-41EC-4EF0-AF7D-23AE804AA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67089" y="5290442"/>
              <a:ext cx="1007624" cy="897797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202105-F57E-4B7E-8B49-BDD5C96EBEDC}"/>
              </a:ext>
            </a:extLst>
          </p:cNvPr>
          <p:cNvGrpSpPr/>
          <p:nvPr/>
        </p:nvGrpSpPr>
        <p:grpSpPr>
          <a:xfrm>
            <a:off x="2861923" y="2065580"/>
            <a:ext cx="881973" cy="976267"/>
            <a:chOff x="2197629" y="4130443"/>
            <a:chExt cx="881973" cy="97626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2930C0B-CE49-4819-A975-3994C1526BCB}"/>
                </a:ext>
              </a:extLst>
            </p:cNvPr>
            <p:cNvSpPr/>
            <p:nvPr/>
          </p:nvSpPr>
          <p:spPr>
            <a:xfrm>
              <a:off x="2197629" y="4798933"/>
              <a:ext cx="88197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Process 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408222B-4E00-4BE6-9DE0-8394F8663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8065" y="4130443"/>
              <a:ext cx="681101" cy="681101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5EDE085-9BB4-41D2-8410-C17E956F7DAC}"/>
              </a:ext>
            </a:extLst>
          </p:cNvPr>
          <p:cNvGrpSpPr/>
          <p:nvPr/>
        </p:nvGrpSpPr>
        <p:grpSpPr>
          <a:xfrm>
            <a:off x="4683861" y="1972995"/>
            <a:ext cx="811430" cy="1090424"/>
            <a:chOff x="3895775" y="4037858"/>
            <a:chExt cx="811430" cy="109042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9ECB0FD-CD8C-4D92-A7FC-ED5C5E30BF44}"/>
                </a:ext>
              </a:extLst>
            </p:cNvPr>
            <p:cNvSpPr/>
            <p:nvPr/>
          </p:nvSpPr>
          <p:spPr>
            <a:xfrm>
              <a:off x="3992340" y="4820505"/>
              <a:ext cx="65114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Form 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49F0D86-011A-488F-85BD-234C353AE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95775" y="4037858"/>
              <a:ext cx="811430" cy="81143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335EC87-1026-44A1-B76E-800F0D4D57FB}"/>
              </a:ext>
            </a:extLst>
          </p:cNvPr>
          <p:cNvSpPr/>
          <p:nvPr/>
        </p:nvSpPr>
        <p:spPr>
          <a:xfrm>
            <a:off x="6399094" y="4009245"/>
            <a:ext cx="11801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Automation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D1A129F-5F72-4C94-9DCA-EE5456982ACA}"/>
              </a:ext>
            </a:extLst>
          </p:cNvPr>
          <p:cNvCxnSpPr>
            <a:cxnSpLocks/>
          </p:cNvCxnSpPr>
          <p:nvPr/>
        </p:nvCxnSpPr>
        <p:spPr>
          <a:xfrm>
            <a:off x="4171415" y="2370175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0BA16F-3339-4AFF-A3D2-8EC78584F355}"/>
              </a:ext>
            </a:extLst>
          </p:cNvPr>
          <p:cNvCxnSpPr>
            <a:cxnSpLocks/>
          </p:cNvCxnSpPr>
          <p:nvPr/>
        </p:nvCxnSpPr>
        <p:spPr>
          <a:xfrm>
            <a:off x="6048684" y="2359638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70F65C4-7F2F-4830-890A-7531B730893F}"/>
              </a:ext>
            </a:extLst>
          </p:cNvPr>
          <p:cNvCxnSpPr>
            <a:cxnSpLocks/>
          </p:cNvCxnSpPr>
          <p:nvPr/>
        </p:nvCxnSpPr>
        <p:spPr>
          <a:xfrm>
            <a:off x="8133675" y="2406130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1F820B1-5946-42CA-BD76-46EA7DFCF2E5}"/>
              </a:ext>
            </a:extLst>
          </p:cNvPr>
          <p:cNvCxnSpPr>
            <a:cxnSpLocks/>
          </p:cNvCxnSpPr>
          <p:nvPr/>
        </p:nvCxnSpPr>
        <p:spPr>
          <a:xfrm flipH="1">
            <a:off x="2491707" y="3210926"/>
            <a:ext cx="7551271" cy="0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A0E4D46-F781-4E97-ADE9-5DF8CBEC0794}"/>
              </a:ext>
            </a:extLst>
          </p:cNvPr>
          <p:cNvSpPr txBox="1"/>
          <p:nvPr/>
        </p:nvSpPr>
        <p:spPr>
          <a:xfrm>
            <a:off x="4655006" y="1588094"/>
            <a:ext cx="3266898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18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SAP Process Automation</a:t>
            </a:r>
            <a:endParaRPr lang="en-US" sz="1200" b="1" kern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817D36F-C939-499F-AF81-292BB872F682}"/>
              </a:ext>
            </a:extLst>
          </p:cNvPr>
          <p:cNvSpPr txBox="1"/>
          <p:nvPr/>
        </p:nvSpPr>
        <p:spPr>
          <a:xfrm>
            <a:off x="565746" y="251286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anager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41D18A2-7665-4694-8A73-37815DFF9DB5}"/>
              </a:ext>
            </a:extLst>
          </p:cNvPr>
          <p:cNvSpPr txBox="1"/>
          <p:nvPr/>
        </p:nvSpPr>
        <p:spPr>
          <a:xfrm>
            <a:off x="544983" y="4013467"/>
            <a:ext cx="148270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Experienc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management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496D7577-0B65-40C5-9334-181A5CD6FE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656" y="3461369"/>
            <a:ext cx="615054" cy="615054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B7801E0A-D81A-47F3-8C68-EEB00FD13C61}"/>
              </a:ext>
            </a:extLst>
          </p:cNvPr>
          <p:cNvSpPr txBox="1"/>
          <p:nvPr/>
        </p:nvSpPr>
        <p:spPr>
          <a:xfrm>
            <a:off x="10481104" y="4100292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-cod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921F70B5-C65B-403E-B737-1D80091FC6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423" y="1961260"/>
            <a:ext cx="721521" cy="721521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836E8136-5FF1-4176-9594-B130F222FE11}"/>
              </a:ext>
            </a:extLst>
          </p:cNvPr>
          <p:cNvSpPr txBox="1"/>
          <p:nvPr/>
        </p:nvSpPr>
        <p:spPr>
          <a:xfrm>
            <a:off x="10478066" y="264131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Citizen 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cxnSp>
        <p:nvCxnSpPr>
          <p:cNvPr id="74" name="Straight Connector 35">
            <a:extLst>
              <a:ext uri="{FF2B5EF4-FFF2-40B4-BE49-F238E27FC236}">
                <a16:creationId xmlns:a16="http://schemas.microsoft.com/office/drawing/2014/main" id="{3A070AD3-7A4D-4E8D-95B9-C7041C5A302E}"/>
              </a:ext>
            </a:extLst>
          </p:cNvPr>
          <p:cNvCxnSpPr>
            <a:cxnSpLocks/>
          </p:cNvCxnSpPr>
          <p:nvPr/>
        </p:nvCxnSpPr>
        <p:spPr>
          <a:xfrm flipH="1">
            <a:off x="1699877" y="2310720"/>
            <a:ext cx="693680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>
            <a:extLst>
              <a:ext uri="{FF2B5EF4-FFF2-40B4-BE49-F238E27FC236}">
                <a16:creationId xmlns:a16="http://schemas.microsoft.com/office/drawing/2014/main" id="{E9CC1B57-0FE0-4409-BA6A-821DF4B83877}"/>
              </a:ext>
            </a:extLst>
          </p:cNvPr>
          <p:cNvSpPr/>
          <p:nvPr/>
        </p:nvSpPr>
        <p:spPr bwMode="gray">
          <a:xfrm>
            <a:off x="2347837" y="226819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0" name="Straight Connector 35">
            <a:extLst>
              <a:ext uri="{FF2B5EF4-FFF2-40B4-BE49-F238E27FC236}">
                <a16:creationId xmlns:a16="http://schemas.microsoft.com/office/drawing/2014/main" id="{61DE12ED-8202-4F16-9205-03AB83C2C7A2}"/>
              </a:ext>
            </a:extLst>
          </p:cNvPr>
          <p:cNvCxnSpPr>
            <a:cxnSpLocks/>
          </p:cNvCxnSpPr>
          <p:nvPr/>
        </p:nvCxnSpPr>
        <p:spPr>
          <a:xfrm flipH="1">
            <a:off x="1745696" y="3865200"/>
            <a:ext cx="647861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1E163BED-99EC-47C2-8D76-A9172A3A02A0}"/>
              </a:ext>
            </a:extLst>
          </p:cNvPr>
          <p:cNvSpPr/>
          <p:nvPr/>
        </p:nvSpPr>
        <p:spPr bwMode="gray">
          <a:xfrm>
            <a:off x="2347837" y="382267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AE1AB83-2998-4072-AD6B-DDB5CE25AA7A}"/>
              </a:ext>
            </a:extLst>
          </p:cNvPr>
          <p:cNvSpPr/>
          <p:nvPr/>
        </p:nvSpPr>
        <p:spPr bwMode="gray">
          <a:xfrm>
            <a:off x="10139038" y="3802437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AAFECC34-1590-4B30-9FA1-22DBB9BCA713}"/>
              </a:ext>
            </a:extLst>
          </p:cNvPr>
          <p:cNvSpPr/>
          <p:nvPr/>
        </p:nvSpPr>
        <p:spPr bwMode="gray">
          <a:xfrm>
            <a:off x="10139038" y="2365073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6" name="Straight Connector 35">
            <a:extLst>
              <a:ext uri="{FF2B5EF4-FFF2-40B4-BE49-F238E27FC236}">
                <a16:creationId xmlns:a16="http://schemas.microsoft.com/office/drawing/2014/main" id="{8841C195-FB30-46DB-9656-6A5C034AB9E3}"/>
              </a:ext>
            </a:extLst>
          </p:cNvPr>
          <p:cNvCxnSpPr>
            <a:cxnSpLocks/>
          </p:cNvCxnSpPr>
          <p:nvPr/>
        </p:nvCxnSpPr>
        <p:spPr>
          <a:xfrm flipH="1">
            <a:off x="10230478" y="2404397"/>
            <a:ext cx="519012" cy="31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DDB8A744-DED5-4B47-A4CA-14A8849F0C0C}"/>
              </a:ext>
            </a:extLst>
          </p:cNvPr>
          <p:cNvSpPr/>
          <p:nvPr/>
        </p:nvSpPr>
        <p:spPr>
          <a:xfrm>
            <a:off x="4386123" y="4009245"/>
            <a:ext cx="1489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Business rules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19CBB288-36BD-0D4F-A150-850E1B3F835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4724681" y="3368689"/>
            <a:ext cx="745803" cy="555949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8F6AB75E-9669-FD45-BE5C-A5903FEF8FF4}"/>
              </a:ext>
            </a:extLst>
          </p:cNvPr>
          <p:cNvSpPr txBox="1"/>
          <p:nvPr/>
        </p:nvSpPr>
        <p:spPr>
          <a:xfrm>
            <a:off x="2392316" y="4861715"/>
            <a:ext cx="8884600" cy="1831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New </a:t>
            </a:r>
            <a:r>
              <a:rPr lang="en-US" sz="1400" b="1"/>
              <a:t>citizen automation user experience </a:t>
            </a:r>
            <a:r>
              <a:rPr lang="en-US" sz="1400"/>
              <a:t>(process builder, forms builder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All </a:t>
            </a:r>
            <a:r>
              <a:rPr lang="en-US" sz="1400" b="1"/>
              <a:t>advanced workflow management </a:t>
            </a:r>
            <a:r>
              <a:rPr lang="en-US" sz="1400"/>
              <a:t>capabilities available (rules, process visibility, process flexibility, AI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Embedded </a:t>
            </a:r>
            <a:r>
              <a:rPr lang="en-US" sz="1400" b="1"/>
              <a:t>RPA capabilities </a:t>
            </a:r>
            <a:r>
              <a:rPr lang="en-US" sz="1400"/>
              <a:t>to readily combine bot automations with workflows 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Content and </a:t>
            </a:r>
            <a:r>
              <a:rPr lang="en-US" sz="1400" b="1"/>
              <a:t>reusable artifacts </a:t>
            </a:r>
            <a:r>
              <a:rPr lang="en-US" sz="1400"/>
              <a:t>(such as bots, workflow components, process steps, actions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b="1"/>
              <a:t>Unified launchpad and task center </a:t>
            </a:r>
            <a:r>
              <a:rPr lang="en-US" sz="1400"/>
              <a:t>for citizen developer applications and automations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648E1FD-CD3F-1348-BB88-0119911582B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163" y="3293028"/>
            <a:ext cx="688799" cy="688799"/>
          </a:xfrm>
          <a:prstGeom prst="rect">
            <a:avLst/>
          </a:prstGeom>
        </p:spPr>
      </p:pic>
      <p:pic>
        <p:nvPicPr>
          <p:cNvPr id="71682" name="Picture 2" descr="SAP to Acquire Business Process Intelligence Company Signavio">
            <a:extLst>
              <a:ext uri="{FF2B5EF4-FFF2-40B4-BE49-F238E27FC236}">
                <a16:creationId xmlns:a16="http://schemas.microsoft.com/office/drawing/2014/main" id="{5478001C-D8BF-5D4E-BEBF-0FA244ED1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345" y="2067592"/>
            <a:ext cx="832566" cy="46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Upgrading the SAP Customer and Operations Lifecycle | Signavio">
            <a:extLst>
              <a:ext uri="{FF2B5EF4-FFF2-40B4-BE49-F238E27FC236}">
                <a16:creationId xmlns:a16="http://schemas.microsoft.com/office/drawing/2014/main" id="{09D8BC66-CEE4-4240-A9B5-8747FD150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1180" y="1908408"/>
            <a:ext cx="651758" cy="32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qualtrics-press-meta-images-04-1 - ELGL">
            <a:extLst>
              <a:ext uri="{FF2B5EF4-FFF2-40B4-BE49-F238E27FC236}">
                <a16:creationId xmlns:a16="http://schemas.microsoft.com/office/drawing/2014/main" id="{2829BEB8-BBE0-0E49-9462-2AE3F5993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924" y="3638226"/>
            <a:ext cx="948011" cy="383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B868C752-CF13-B044-A0F8-40F8BC12C70C}"/>
              </a:ext>
            </a:extLst>
          </p:cNvPr>
          <p:cNvSpPr/>
          <p:nvPr/>
        </p:nvSpPr>
        <p:spPr>
          <a:xfrm>
            <a:off x="6423561" y="2757139"/>
            <a:ext cx="10903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Intelligenc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B7848B-4029-DF4E-86E5-47AAC570E52C}"/>
              </a:ext>
            </a:extLst>
          </p:cNvPr>
          <p:cNvSpPr/>
          <p:nvPr/>
        </p:nvSpPr>
        <p:spPr>
          <a:xfrm>
            <a:off x="8427148" y="2775510"/>
            <a:ext cx="11394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Task cent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54B49FE-F2CE-CF40-BBD1-054902533361}"/>
              </a:ext>
            </a:extLst>
          </p:cNvPr>
          <p:cNvSpPr/>
          <p:nvPr/>
        </p:nvSpPr>
        <p:spPr>
          <a:xfrm>
            <a:off x="8329301" y="4009245"/>
            <a:ext cx="1527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Process visibilit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2FB312-D70A-974C-9C62-3B29F2CA77E8}"/>
              </a:ext>
            </a:extLst>
          </p:cNvPr>
          <p:cNvSpPr/>
          <p:nvPr/>
        </p:nvSpPr>
        <p:spPr>
          <a:xfrm>
            <a:off x="321967" y="2998113"/>
            <a:ext cx="19287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>
                <a:solidFill>
                  <a:schemeClr val="accent3"/>
                </a:solidFill>
              </a:rPr>
              <a:t>Integrated process insights </a:t>
            </a:r>
            <a:br>
              <a:rPr lang="en-US" sz="1100">
                <a:solidFill>
                  <a:schemeClr val="accent3"/>
                </a:solidFill>
              </a:rPr>
            </a:br>
            <a:r>
              <a:rPr lang="en-US" sz="1100">
                <a:solidFill>
                  <a:schemeClr val="accent3"/>
                </a:solidFill>
              </a:rPr>
              <a:t>and customer sentiment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6DF3641-F3CC-9249-A5AB-7C9D5DFA8DD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353" y="2096495"/>
            <a:ext cx="698400" cy="6984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9CF9D20-A6DD-9142-A691-16E73F08459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640" y="1988597"/>
            <a:ext cx="831600" cy="8316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E73A33D-EFA5-584D-86B8-51A550C33EF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3453" y="3252366"/>
            <a:ext cx="84240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66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B21428D-4612-984E-82A9-6DE90AD1CA8A}"/>
              </a:ext>
            </a:extLst>
          </p:cNvPr>
          <p:cNvSpPr/>
          <p:nvPr/>
        </p:nvSpPr>
        <p:spPr bwMode="gray">
          <a:xfrm>
            <a:off x="914400" y="1904377"/>
            <a:ext cx="2977978" cy="3684149"/>
          </a:xfrm>
          <a:prstGeom prst="rect">
            <a:avLst/>
          </a:prstGeom>
          <a:noFill/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" name="Rechteck 177">
            <a:extLst>
              <a:ext uri="{FF2B5EF4-FFF2-40B4-BE49-F238E27FC236}">
                <a16:creationId xmlns:a16="http://schemas.microsoft.com/office/drawing/2014/main" id="{5AB1D605-08CC-4104-8E19-152C4A5A0171}"/>
              </a:ext>
            </a:extLst>
          </p:cNvPr>
          <p:cNvSpPr/>
          <p:nvPr/>
        </p:nvSpPr>
        <p:spPr bwMode="gray">
          <a:xfrm>
            <a:off x="4968240" y="1904377"/>
            <a:ext cx="6312535" cy="3684148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3" tIns="71983" rIns="71983" bIns="0" rtlCol="0" anchor="t" anchorCtr="0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1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54EEDBA-16FB-5C4A-905B-2978DE0B97E6}"/>
              </a:ext>
            </a:extLst>
          </p:cNvPr>
          <p:cNvCxnSpPr/>
          <p:nvPr/>
        </p:nvCxnSpPr>
        <p:spPr>
          <a:xfrm>
            <a:off x="914400" y="1620167"/>
            <a:ext cx="5590613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2919522D-B39F-4EBE-8538-FCA4AC576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 Overview</a:t>
            </a:r>
            <a:endParaRPr lang="de-DE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EF566E8-BB74-4AD1-92A2-0DE89B4CFC3B}"/>
              </a:ext>
            </a:extLst>
          </p:cNvPr>
          <p:cNvSpPr/>
          <p:nvPr/>
        </p:nvSpPr>
        <p:spPr>
          <a:xfrm>
            <a:off x="1188467" y="2365368"/>
            <a:ext cx="1419220" cy="48474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Design Studio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buildin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13C720-BED0-4972-B52E-4C1602E43663}"/>
              </a:ext>
            </a:extLst>
          </p:cNvPr>
          <p:cNvSpPr txBox="1"/>
          <p:nvPr/>
        </p:nvSpPr>
        <p:spPr>
          <a:xfrm>
            <a:off x="5127329" y="2939491"/>
            <a:ext cx="1232144" cy="3924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Desktop Agent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Execution Engin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DEFA4BB-6243-4A76-AB18-29A7E3555A98}"/>
              </a:ext>
            </a:extLst>
          </p:cNvPr>
          <p:cNvSpPr/>
          <p:nvPr/>
        </p:nvSpPr>
        <p:spPr>
          <a:xfrm>
            <a:off x="1154909" y="3575330"/>
            <a:ext cx="1484307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loud Factory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Orchestration &amp; monitoring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3C6DD1B-F870-45AA-99F4-2357EDCAA8AF}"/>
              </a:ext>
            </a:extLst>
          </p:cNvPr>
          <p:cNvSpPr/>
          <p:nvPr/>
        </p:nvSpPr>
        <p:spPr>
          <a:xfrm>
            <a:off x="1258420" y="4706868"/>
            <a:ext cx="1277283" cy="62324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Bot Store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Pre-packaged content store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DF8A1C-3058-4AF9-822E-53A33602797F}"/>
              </a:ext>
            </a:extLst>
          </p:cNvPr>
          <p:cNvSpPr/>
          <p:nvPr/>
        </p:nvSpPr>
        <p:spPr>
          <a:xfrm>
            <a:off x="5986968" y="3772389"/>
            <a:ext cx="901601" cy="239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esktops</a:t>
            </a: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6B6AC68-1765-456F-9BCD-BB3B7BC5D599}"/>
              </a:ext>
            </a:extLst>
          </p:cNvPr>
          <p:cNvSpPr/>
          <p:nvPr/>
        </p:nvSpPr>
        <p:spPr>
          <a:xfrm>
            <a:off x="6115151" y="3254937"/>
            <a:ext cx="69466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VM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D60B9DF-967A-47CA-8BD0-D7E09BB3EDD5}"/>
              </a:ext>
            </a:extLst>
          </p:cNvPr>
          <p:cNvGrpSpPr/>
          <p:nvPr/>
        </p:nvGrpSpPr>
        <p:grpSpPr>
          <a:xfrm>
            <a:off x="6294320" y="4021109"/>
            <a:ext cx="286899" cy="209242"/>
            <a:chOff x="5147877" y="5453128"/>
            <a:chExt cx="502213" cy="36627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F5A0A84C-0920-46F2-B083-CAA176DC4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26546" y="545312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1D461C6E-7DDF-478F-95F5-9BFB5B272A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87212" y="548270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5DE46516-7D8F-491B-BA59-EA4C1861C1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47877" y="551228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8C8E261-6A59-41BB-9939-AE0A35C91297}"/>
              </a:ext>
            </a:extLst>
          </p:cNvPr>
          <p:cNvGrpSpPr/>
          <p:nvPr/>
        </p:nvGrpSpPr>
        <p:grpSpPr>
          <a:xfrm>
            <a:off x="6305628" y="3516018"/>
            <a:ext cx="292638" cy="208181"/>
            <a:chOff x="4936404" y="5350668"/>
            <a:chExt cx="320140" cy="227746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F1D869BB-7E3E-4426-A595-8CD4A83E18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86259" y="5350668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77FDA336-8896-4B8B-B398-4A4FED3B9C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61332" y="5369141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BB3D6706-E7B2-4485-BB9F-A2B50107A4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36404" y="5387614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3843108B-9D93-4B83-9B57-41507D9BE26E}"/>
              </a:ext>
            </a:extLst>
          </p:cNvPr>
          <p:cNvSpPr/>
          <p:nvPr/>
        </p:nvSpPr>
        <p:spPr>
          <a:xfrm>
            <a:off x="2523004" y="1410751"/>
            <a:ext cx="2364750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0AB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Intelligent RPA</a:t>
            </a:r>
          </a:p>
        </p:txBody>
      </p:sp>
      <p:pic>
        <p:nvPicPr>
          <p:cNvPr id="44" name="Image 1">
            <a:extLst>
              <a:ext uri="{FF2B5EF4-FFF2-40B4-BE49-F238E27FC236}">
                <a16:creationId xmlns:a16="http://schemas.microsoft.com/office/drawing/2014/main" id="{CFC1CB7F-C84D-B346-BA42-AC59AB469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0147" y="3387535"/>
            <a:ext cx="647247" cy="735508"/>
          </a:xfrm>
          <a:prstGeom prst="rect">
            <a:avLst/>
          </a:prstGeom>
        </p:spPr>
      </p:pic>
      <p:pic>
        <p:nvPicPr>
          <p:cNvPr id="45" name="Image 6">
            <a:extLst>
              <a:ext uri="{FF2B5EF4-FFF2-40B4-BE49-F238E27FC236}">
                <a16:creationId xmlns:a16="http://schemas.microsoft.com/office/drawing/2014/main" id="{C0C72E14-10A1-194A-BE65-523EE63FC9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1171" y="3386077"/>
            <a:ext cx="647247" cy="735508"/>
          </a:xfrm>
          <a:prstGeom prst="rect">
            <a:avLst/>
          </a:prstGeom>
        </p:spPr>
      </p:pic>
      <p:pic>
        <p:nvPicPr>
          <p:cNvPr id="46" name="Image 7">
            <a:extLst>
              <a:ext uri="{FF2B5EF4-FFF2-40B4-BE49-F238E27FC236}">
                <a16:creationId xmlns:a16="http://schemas.microsoft.com/office/drawing/2014/main" id="{B8951335-6B8C-504C-9206-210A49880E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0148" y="2180462"/>
            <a:ext cx="647247" cy="735508"/>
          </a:xfrm>
          <a:prstGeom prst="rect">
            <a:avLst/>
          </a:prstGeom>
        </p:spPr>
      </p:pic>
      <p:pic>
        <p:nvPicPr>
          <p:cNvPr id="47" name="Image 8">
            <a:extLst>
              <a:ext uri="{FF2B5EF4-FFF2-40B4-BE49-F238E27FC236}">
                <a16:creationId xmlns:a16="http://schemas.microsoft.com/office/drawing/2014/main" id="{BE358B92-3C40-7F46-BEAD-D134485C24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0147" y="4594608"/>
            <a:ext cx="647247" cy="735508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10BFF8E-1771-3E44-BB20-8EC28006CA01}"/>
              </a:ext>
            </a:extLst>
          </p:cNvPr>
          <p:cNvSpPr txBox="1"/>
          <p:nvPr/>
        </p:nvSpPr>
        <p:spPr>
          <a:xfrm>
            <a:off x="914400" y="5619656"/>
            <a:ext cx="29779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SAP Business Technology Platform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 (Cloud)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08FD3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F80410F-74D1-7F46-8CDB-1E6EEE6E480A}"/>
              </a:ext>
            </a:extLst>
          </p:cNvPr>
          <p:cNvSpPr txBox="1"/>
          <p:nvPr/>
        </p:nvSpPr>
        <p:spPr>
          <a:xfrm>
            <a:off x="7195315" y="5619656"/>
            <a:ext cx="14827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200" b="1" ker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defRPr>
            </a:lvl1pPr>
          </a:lstStyle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ustomer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nvironment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F1F3FD-7741-1C44-BFE7-16ED0381C338}"/>
              </a:ext>
            </a:extLst>
          </p:cNvPr>
          <p:cNvSpPr txBox="1"/>
          <p:nvPr/>
        </p:nvSpPr>
        <p:spPr>
          <a:xfrm>
            <a:off x="7215932" y="2375913"/>
            <a:ext cx="392059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Process Automation via UIs and APIs</a:t>
            </a:r>
            <a:endParaRPr kumimoji="0" lang="en-DE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8A27574-FEB5-3B4E-BC21-0222D72EE431}"/>
              </a:ext>
            </a:extLst>
          </p:cNvPr>
          <p:cNvSpPr txBox="1"/>
          <p:nvPr/>
        </p:nvSpPr>
        <p:spPr>
          <a:xfrm>
            <a:off x="9416676" y="2709819"/>
            <a:ext cx="2028191" cy="1492716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-party too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cy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et porta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e apps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5157E"/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EAEA8F3-F578-6449-AA54-672D894CC727}"/>
              </a:ext>
            </a:extLst>
          </p:cNvPr>
          <p:cNvSpPr txBox="1"/>
          <p:nvPr/>
        </p:nvSpPr>
        <p:spPr>
          <a:xfrm>
            <a:off x="7215932" y="2709819"/>
            <a:ext cx="2355451" cy="2539157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/4HANA* 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ECC*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ByDesign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uccessFactors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Ariba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P C/4HANA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Concu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Fieldglas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On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lligent Technologi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Arrow: Chevron 75">
            <a:extLst>
              <a:ext uri="{FF2B5EF4-FFF2-40B4-BE49-F238E27FC236}">
                <a16:creationId xmlns:a16="http://schemas.microsoft.com/office/drawing/2014/main" id="{B72B9583-EB28-9C4F-AEEE-1A5831126636}"/>
              </a:ext>
            </a:extLst>
          </p:cNvPr>
          <p:cNvSpPr/>
          <p:nvPr/>
        </p:nvSpPr>
        <p:spPr bwMode="gray">
          <a:xfrm>
            <a:off x="6819818" y="3369960"/>
            <a:ext cx="127467" cy="835444"/>
          </a:xfrm>
          <a:prstGeom prst="chevron">
            <a:avLst>
              <a:gd name="adj" fmla="val 59412"/>
            </a:avLst>
          </a:prstGeom>
          <a:solidFill>
            <a:schemeClr val="accent2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5A1DC3-EBFE-AB44-BE3A-14E3A51CBC4E}"/>
              </a:ext>
            </a:extLst>
          </p:cNvPr>
          <p:cNvCxnSpPr>
            <a:cxnSpLocks/>
          </p:cNvCxnSpPr>
          <p:nvPr/>
        </p:nvCxnSpPr>
        <p:spPr>
          <a:xfrm>
            <a:off x="3536011" y="3813721"/>
            <a:ext cx="1794821" cy="0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0">
            <a:extLst>
              <a:ext uri="{FF2B5EF4-FFF2-40B4-BE49-F238E27FC236}">
                <a16:creationId xmlns:a16="http://schemas.microsoft.com/office/drawing/2014/main" id="{FC982089-72E0-C94B-9E8E-D03E5C3DC3B6}"/>
              </a:ext>
            </a:extLst>
          </p:cNvPr>
          <p:cNvCxnSpPr>
            <a:cxnSpLocks/>
          </p:cNvCxnSpPr>
          <p:nvPr/>
        </p:nvCxnSpPr>
        <p:spPr>
          <a:xfrm flipV="1">
            <a:off x="4433422" y="1897860"/>
            <a:ext cx="0" cy="3565680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Abgerundetes Rechteck 24">
            <a:extLst>
              <a:ext uri="{FF2B5EF4-FFF2-40B4-BE49-F238E27FC236}">
                <a16:creationId xmlns:a16="http://schemas.microsoft.com/office/drawing/2014/main" id="{9CE735E2-170A-1A4C-BD38-ABC61833C831}"/>
              </a:ext>
            </a:extLst>
          </p:cNvPr>
          <p:cNvSpPr/>
          <p:nvPr/>
        </p:nvSpPr>
        <p:spPr>
          <a:xfrm>
            <a:off x="3891483" y="3723498"/>
            <a:ext cx="1075131" cy="182544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7FF25E4-E24B-7C48-AD02-E901E4713D64}"/>
              </a:ext>
            </a:extLst>
          </p:cNvPr>
          <p:cNvSpPr/>
          <p:nvPr/>
        </p:nvSpPr>
        <p:spPr>
          <a:xfrm>
            <a:off x="3943787" y="5440402"/>
            <a:ext cx="982055" cy="24196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ewal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907CDD-DBFF-4E4B-8638-55D2E8CBDB10}"/>
              </a:ext>
            </a:extLst>
          </p:cNvPr>
          <p:cNvSpPr txBox="1"/>
          <p:nvPr/>
        </p:nvSpPr>
        <p:spPr>
          <a:xfrm>
            <a:off x="9891002" y="5948082"/>
            <a:ext cx="1335302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  prebuilt content available</a:t>
            </a: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* prebuilt content in the roadma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3D679FA-6D58-4AC5-8EE9-0122A83915BF}"/>
              </a:ext>
            </a:extLst>
          </p:cNvPr>
          <p:cNvCxnSpPr>
            <a:cxnSpLocks/>
          </p:cNvCxnSpPr>
          <p:nvPr/>
        </p:nvCxnSpPr>
        <p:spPr>
          <a:xfrm>
            <a:off x="914400" y="3127416"/>
            <a:ext cx="2969617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9721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474B3A3F-F810-464C-8383-43230FE2E77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320" y="3833172"/>
            <a:ext cx="4281050" cy="23634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CFAC75-6B97-4740-8145-F06013F46A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06" y="3847079"/>
            <a:ext cx="4266592" cy="23495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4E512E-AC33-2B48-9EDB-F27AE51CC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itizen </a:t>
            </a:r>
            <a:r>
              <a:rPr lang="en-US" dirty="0"/>
              <a:t>d</a:t>
            </a:r>
            <a:r>
              <a:rPr lang="en-DE" dirty="0"/>
              <a:t>eveloper </a:t>
            </a:r>
            <a:r>
              <a:rPr lang="en-US" dirty="0"/>
              <a:t>w</a:t>
            </a:r>
            <a:r>
              <a:rPr lang="en-DE" dirty="0"/>
              <a:t>orkflow and </a:t>
            </a:r>
            <a:r>
              <a:rPr lang="en-US" dirty="0"/>
              <a:t>a</a:t>
            </a:r>
            <a:r>
              <a:rPr lang="en-DE" dirty="0"/>
              <a:t>utomation </a:t>
            </a:r>
            <a:r>
              <a:rPr lang="en-GB" dirty="0"/>
              <a:t>in ONE product experience</a:t>
            </a:r>
            <a:endParaRPr lang="en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3ED941-ECEF-C04A-B7E7-79C6C9E7986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06" y="1237548"/>
            <a:ext cx="4226880" cy="23277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10A003-BB29-6940-9605-EDAA859A550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5925" y="1224317"/>
            <a:ext cx="4255860" cy="23541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4880C17-7414-B645-8CF5-F1B07653A01E}"/>
              </a:ext>
            </a:extLst>
          </p:cNvPr>
          <p:cNvSpPr/>
          <p:nvPr/>
        </p:nvSpPr>
        <p:spPr bwMode="gray">
          <a:xfrm>
            <a:off x="1595925" y="3294742"/>
            <a:ext cx="425586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Lobby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6A259C-3C1E-AF49-AA9E-C80E0DED5EFA}"/>
              </a:ext>
            </a:extLst>
          </p:cNvPr>
          <p:cNvSpPr/>
          <p:nvPr/>
        </p:nvSpPr>
        <p:spPr bwMode="gray">
          <a:xfrm>
            <a:off x="6085306" y="3273698"/>
            <a:ext cx="425586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ject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1A671C-6895-E945-835C-561AF3A8DFFC}"/>
              </a:ext>
            </a:extLst>
          </p:cNvPr>
          <p:cNvSpPr/>
          <p:nvPr/>
        </p:nvSpPr>
        <p:spPr bwMode="gray">
          <a:xfrm>
            <a:off x="1588320" y="5908007"/>
            <a:ext cx="428105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cess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0547F1-34F3-BE46-B826-6D6E256E44E0}"/>
              </a:ext>
            </a:extLst>
          </p:cNvPr>
          <p:cNvSpPr/>
          <p:nvPr/>
        </p:nvSpPr>
        <p:spPr bwMode="gray">
          <a:xfrm>
            <a:off x="6085305" y="5908006"/>
            <a:ext cx="4281049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cess with intelligent Automation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56232D-D64B-4140-9A80-3EFAD008E9AA}"/>
              </a:ext>
            </a:extLst>
          </p:cNvPr>
          <p:cNvSpPr txBox="1"/>
          <p:nvPr/>
        </p:nvSpPr>
        <p:spPr>
          <a:xfrm>
            <a:off x="10528780" y="4480104"/>
            <a:ext cx="128721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mbedded AI capabilities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immersive modeling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xperience to add intelligent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utomations into process</a:t>
            </a:r>
          </a:p>
        </p:txBody>
      </p: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D12D4089-FEDF-6040-AEFF-3B812E6818AF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47461" y="4535952"/>
            <a:ext cx="1427519" cy="554844"/>
          </a:xfrm>
          <a:prstGeom prst="bentConnector3">
            <a:avLst>
              <a:gd name="adj1" fmla="val -443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69EB9CC-6C83-0744-920C-64BA13A08CEE}"/>
              </a:ext>
            </a:extLst>
          </p:cNvPr>
          <p:cNvSpPr txBox="1"/>
          <p:nvPr/>
        </p:nvSpPr>
        <p:spPr>
          <a:xfrm>
            <a:off x="300699" y="4371563"/>
            <a:ext cx="119584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One Process Builder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combining Workflow steps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Automations in a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imple intuitive language</a:t>
            </a:r>
          </a:p>
        </p:txBody>
      </p: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F63F033F-868D-F740-8D33-D0D452B0ACFC}"/>
              </a:ext>
            </a:extLst>
          </p:cNvPr>
          <p:cNvCxnSpPr>
            <a:cxnSpLocks/>
          </p:cNvCxnSpPr>
          <p:nvPr/>
        </p:nvCxnSpPr>
        <p:spPr>
          <a:xfrm>
            <a:off x="176470" y="4371563"/>
            <a:ext cx="1323362" cy="643357"/>
          </a:xfrm>
          <a:prstGeom prst="bentConnector3">
            <a:avLst>
              <a:gd name="adj1" fmla="val -151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75A8BF7-C87E-0244-ABEB-178355DB532A}"/>
              </a:ext>
            </a:extLst>
          </p:cNvPr>
          <p:cNvGrpSpPr/>
          <p:nvPr/>
        </p:nvGrpSpPr>
        <p:grpSpPr>
          <a:xfrm>
            <a:off x="184075" y="1971264"/>
            <a:ext cx="1323362" cy="430143"/>
            <a:chOff x="61544" y="1971264"/>
            <a:chExt cx="1323362" cy="430143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D236B5E-98E4-B44B-A4A1-2E6AA4ACE45C}"/>
                </a:ext>
              </a:extLst>
            </p:cNvPr>
            <p:cNvSpPr txBox="1"/>
            <p:nvPr/>
          </p:nvSpPr>
          <p:spPr>
            <a:xfrm>
              <a:off x="164437" y="1971264"/>
              <a:ext cx="1141338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One Lobby across</a:t>
              </a:r>
              <a:b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</a:b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Process Automation &amp;</a:t>
              </a:r>
              <a:b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</a:b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Application Development</a:t>
              </a:r>
            </a:p>
          </p:txBody>
        </p:sp>
        <p:cxnSp>
          <p:nvCxnSpPr>
            <p:cNvPr id="38" name="Elbow Connector 37">
              <a:extLst>
                <a:ext uri="{FF2B5EF4-FFF2-40B4-BE49-F238E27FC236}">
                  <a16:creationId xmlns:a16="http://schemas.microsoft.com/office/drawing/2014/main" id="{AD2032B9-884E-ED4A-8B69-92CE61FD8CED}"/>
                </a:ext>
              </a:extLst>
            </p:cNvPr>
            <p:cNvCxnSpPr>
              <a:cxnSpLocks/>
            </p:cNvCxnSpPr>
            <p:nvPr/>
          </p:nvCxnSpPr>
          <p:spPr>
            <a:xfrm>
              <a:off x="61544" y="1987062"/>
              <a:ext cx="1323362" cy="414345"/>
            </a:xfrm>
            <a:prstGeom prst="bentConnector3">
              <a:avLst>
                <a:gd name="adj1" fmla="val -494"/>
              </a:avLst>
            </a:prstGeom>
            <a:ln w="12700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1A9FF588-94FD-6F4D-B20F-9AC5E2C2E21E}"/>
              </a:ext>
            </a:extLst>
          </p:cNvPr>
          <p:cNvSpPr txBox="1"/>
          <p:nvPr/>
        </p:nvSpPr>
        <p:spPr>
          <a:xfrm>
            <a:off x="10597360" y="2022654"/>
            <a:ext cx="121988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One Process Project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a simple life cycle and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fast time to value across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ll artifacts</a:t>
            </a:r>
          </a:p>
        </p:txBody>
      </p:sp>
      <p:cxnSp>
        <p:nvCxnSpPr>
          <p:cNvPr id="51" name="Elbow Connector 50">
            <a:extLst>
              <a:ext uri="{FF2B5EF4-FFF2-40B4-BE49-F238E27FC236}">
                <a16:creationId xmlns:a16="http://schemas.microsoft.com/office/drawing/2014/main" id="{C1F908FB-061B-314F-87F0-9367D0189BCD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47461" y="2021352"/>
            <a:ext cx="1427519" cy="554844"/>
          </a:xfrm>
          <a:prstGeom prst="bentConnector3">
            <a:avLst>
              <a:gd name="adj1" fmla="val -443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33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tend SAP S/4HANA Cloud Pre-built Content with Workflow</a:t>
            </a:r>
            <a:br>
              <a:rPr lang="en-US" dirty="0"/>
            </a:b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903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45F6F-2E8F-D149-A6AA-1413E28929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7500" lnSpcReduction="20000"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b="1" dirty="0"/>
              <a:t>Jump-start automation development </a:t>
            </a:r>
            <a:r>
              <a:rPr lang="en-US" dirty="0"/>
              <a:t>while making use of </a:t>
            </a:r>
            <a:r>
              <a:rPr lang="en-US" b="1" dirty="0"/>
              <a:t>best practice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Select from a wide variety of </a:t>
            </a:r>
            <a:r>
              <a:rPr lang="en-US" b="1" dirty="0"/>
              <a:t>prebuilt, directly usable packag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across lines of business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industri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shared function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Content ranges from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templated automations </a:t>
            </a:r>
            <a:r>
              <a:rPr lang="en-US" dirty="0"/>
              <a:t>(bots)</a:t>
            </a:r>
            <a:r>
              <a:rPr lang="en-US" b="1" dirty="0"/>
              <a:t>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es (</a:t>
            </a:r>
            <a:r>
              <a:rPr lang="en-US" dirty="0"/>
              <a:t>workflows</a:t>
            </a:r>
            <a:r>
              <a:rPr lang="en-US" b="1" dirty="0"/>
              <a:t>)</a:t>
            </a:r>
            <a:endParaRPr lang="en-US" dirty="0"/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 visibility dashboards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form</a:t>
            </a:r>
            <a:r>
              <a:rPr lang="en-US" dirty="0"/>
              <a:t> templates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actions</a:t>
            </a:r>
            <a:r>
              <a:rPr lang="en-US" dirty="0"/>
              <a:t> (called skills)</a:t>
            </a:r>
          </a:p>
          <a:p>
            <a:pPr marL="533400" lvl="1" indent="0">
              <a:lnSpc>
                <a:spcPct val="120000"/>
              </a:lnSpc>
              <a:buNone/>
              <a:tabLst>
                <a:tab pos="522288" algn="l"/>
              </a:tabLst>
            </a:pPr>
            <a:r>
              <a:rPr lang="en-US" dirty="0"/>
              <a:t>to </a:t>
            </a:r>
            <a:r>
              <a:rPr lang="en-US" b="1" dirty="0"/>
              <a:t>complete automation packages combining artifact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EF6A8B-F481-9D4F-92D1-841E089BC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lerate business transformation with prebuilt content package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65E5B4F-1DD7-7541-B115-1E352DC80834}"/>
              </a:ext>
            </a:extLst>
          </p:cNvPr>
          <p:cNvGrpSpPr/>
          <p:nvPr/>
        </p:nvGrpSpPr>
        <p:grpSpPr>
          <a:xfrm>
            <a:off x="2856896" y="1472479"/>
            <a:ext cx="3091992" cy="4607211"/>
            <a:chOff x="3005247" y="1484090"/>
            <a:chExt cx="3091992" cy="460721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009348-43A7-2641-B199-EC3DF45574AB}"/>
                </a:ext>
              </a:extLst>
            </p:cNvPr>
            <p:cNvSpPr/>
            <p:nvPr/>
          </p:nvSpPr>
          <p:spPr bwMode="gray">
            <a:xfrm>
              <a:off x="3005247" y="1519301"/>
              <a:ext cx="3091992" cy="457200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FD4FFE-D596-A243-9749-6BC2204A2AE5}"/>
                </a:ext>
              </a:extLst>
            </p:cNvPr>
            <p:cNvGrpSpPr/>
            <p:nvPr/>
          </p:nvGrpSpPr>
          <p:grpSpPr>
            <a:xfrm>
              <a:off x="3247655" y="1484090"/>
              <a:ext cx="1440000" cy="1454078"/>
              <a:chOff x="4755125" y="1713321"/>
              <a:chExt cx="1440000" cy="1454078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71A5DC3B-3B12-AA4B-A4C9-80B8535A6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55125" y="1713321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E221E39-9C00-A34C-9DD0-0A5D1DDAA58E}"/>
                  </a:ext>
                </a:extLst>
              </p:cNvPr>
              <p:cNvSpPr txBox="1"/>
              <p:nvPr/>
            </p:nvSpPr>
            <p:spPr>
              <a:xfrm>
                <a:off x="4770605" y="2951955"/>
                <a:ext cx="1409040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Line of busines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37AFD5-9E26-EE47-992B-56EC0DE78807}"/>
                </a:ext>
              </a:extLst>
            </p:cNvPr>
            <p:cNvGrpSpPr/>
            <p:nvPr/>
          </p:nvGrpSpPr>
          <p:grpSpPr>
            <a:xfrm>
              <a:off x="3247655" y="2765190"/>
              <a:ext cx="1441440" cy="1440000"/>
              <a:chOff x="6174068" y="2995665"/>
              <a:chExt cx="1441440" cy="144000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307625E7-D76B-E94E-9679-69DD07278C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74068" y="2995665"/>
                <a:ext cx="1441440" cy="1440000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99062DE-D06E-1D49-81DE-4AF5D75C9D46}"/>
                  </a:ext>
                </a:extLst>
              </p:cNvPr>
              <p:cNvSpPr txBox="1"/>
              <p:nvPr/>
            </p:nvSpPr>
            <p:spPr>
              <a:xfrm>
                <a:off x="6542127" y="4189142"/>
                <a:ext cx="70532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Industry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1EC6466-EF54-E146-ABB3-841D81D5011C}"/>
                </a:ext>
              </a:extLst>
            </p:cNvPr>
            <p:cNvGrpSpPr/>
            <p:nvPr/>
          </p:nvGrpSpPr>
          <p:grpSpPr>
            <a:xfrm>
              <a:off x="3247655" y="4223035"/>
              <a:ext cx="1440000" cy="1610578"/>
              <a:chOff x="4743593" y="4278010"/>
              <a:chExt cx="1440000" cy="161057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4603475-1B10-F74D-9811-E5EB9893FD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43593" y="4278010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0C0BEA7-5CBE-2741-85B6-86444D38CA3E}"/>
                  </a:ext>
                </a:extLst>
              </p:cNvPr>
              <p:cNvSpPr txBox="1"/>
              <p:nvPr/>
            </p:nvSpPr>
            <p:spPr>
              <a:xfrm>
                <a:off x="4776706" y="5673144"/>
                <a:ext cx="1373774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Shared services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E4E8764-A4F4-4A40-AA87-0FDFD5FBBF8A}"/>
                </a:ext>
              </a:extLst>
            </p:cNvPr>
            <p:cNvGrpSpPr/>
            <p:nvPr/>
          </p:nvGrpSpPr>
          <p:grpSpPr>
            <a:xfrm>
              <a:off x="5039728" y="1686245"/>
              <a:ext cx="783869" cy="798640"/>
              <a:chOff x="6586073" y="1819331"/>
              <a:chExt cx="783869" cy="798640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51F030C8-4E04-9C42-8043-666E710316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181933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754C7E-1CA9-054E-BB8B-4E15F89CF54C}"/>
                  </a:ext>
                </a:extLst>
              </p:cNvPr>
              <p:cNvSpPr txBox="1"/>
              <p:nvPr/>
            </p:nvSpPr>
            <p:spPr>
              <a:xfrm>
                <a:off x="6586073" y="2464083"/>
                <a:ext cx="78386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Automations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C4E757A-210D-AD42-AD83-7E7EAC813792}"/>
                </a:ext>
              </a:extLst>
            </p:cNvPr>
            <p:cNvGrpSpPr/>
            <p:nvPr/>
          </p:nvGrpSpPr>
          <p:grpSpPr>
            <a:xfrm>
              <a:off x="5071659" y="2543176"/>
              <a:ext cx="720000" cy="720000"/>
              <a:chOff x="6618004" y="2643527"/>
              <a:chExt cx="720000" cy="720000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4D1AB9AD-D8EF-DD4E-954B-4A3B3E490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264352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3F02075-7D12-AE4C-91FF-890A3CF2555F}"/>
                  </a:ext>
                </a:extLst>
              </p:cNvPr>
              <p:cNvSpPr txBox="1"/>
              <p:nvPr/>
            </p:nvSpPr>
            <p:spPr>
              <a:xfrm>
                <a:off x="6654199" y="3204091"/>
                <a:ext cx="64761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Workflows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7EC8056-8DC7-694D-B16A-67050C12C8C3}"/>
                </a:ext>
              </a:extLst>
            </p:cNvPr>
            <p:cNvGrpSpPr/>
            <p:nvPr/>
          </p:nvGrpSpPr>
          <p:grpSpPr>
            <a:xfrm>
              <a:off x="5062169" y="3321467"/>
              <a:ext cx="738985" cy="795881"/>
              <a:chOff x="6608514" y="3429000"/>
              <a:chExt cx="738985" cy="795881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AF5C6ED-A966-9340-98EF-225269404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3429000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52458E9-2DC3-A343-985B-8B75249E4A84}"/>
                  </a:ext>
                </a:extLst>
              </p:cNvPr>
              <p:cNvSpPr txBox="1"/>
              <p:nvPr/>
            </p:nvSpPr>
            <p:spPr>
              <a:xfrm>
                <a:off x="6608514" y="4070993"/>
                <a:ext cx="73898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Dashboard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BCAB990-7913-5B4B-9FB4-BC121E2EEFD2}"/>
                </a:ext>
              </a:extLst>
            </p:cNvPr>
            <p:cNvGrpSpPr/>
            <p:nvPr/>
          </p:nvGrpSpPr>
          <p:grpSpPr>
            <a:xfrm>
              <a:off x="5071659" y="4175639"/>
              <a:ext cx="720000" cy="755863"/>
              <a:chOff x="6618004" y="4308574"/>
              <a:chExt cx="720000" cy="755863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98C779E-8DCD-0343-944A-3B1AF432EB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430857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9BBBD8B-9140-DC40-B46B-3BF10C47CE6F}"/>
                  </a:ext>
                </a:extLst>
              </p:cNvPr>
              <p:cNvSpPr txBox="1"/>
              <p:nvPr/>
            </p:nvSpPr>
            <p:spPr>
              <a:xfrm>
                <a:off x="6782439" y="4910549"/>
                <a:ext cx="391134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Forms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BBF4A68-7D1D-054B-8E9E-F66793275A5E}"/>
                </a:ext>
              </a:extLst>
            </p:cNvPr>
            <p:cNvGrpSpPr/>
            <p:nvPr/>
          </p:nvGrpSpPr>
          <p:grpSpPr>
            <a:xfrm>
              <a:off x="5071299" y="4989793"/>
              <a:ext cx="720720" cy="812846"/>
              <a:chOff x="6617644" y="5226781"/>
              <a:chExt cx="720720" cy="812846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49DDB3D-2910-E942-81A5-29862FFD12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7644" y="5226781"/>
                <a:ext cx="720720" cy="720000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F687E6D-0D30-E047-BCF2-6422DC0B505A}"/>
                  </a:ext>
                </a:extLst>
              </p:cNvPr>
              <p:cNvSpPr txBox="1"/>
              <p:nvPr/>
            </p:nvSpPr>
            <p:spPr>
              <a:xfrm>
                <a:off x="6812095" y="5885739"/>
                <a:ext cx="33182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Skills</a:t>
                </a:r>
              </a:p>
            </p:txBody>
          </p:sp>
        </p:grp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C1A02D21-ECEE-1443-A522-0279440B4E5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65" y="3871309"/>
            <a:ext cx="2213746" cy="2213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97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2.xml><?xml version="1.0" encoding="utf-8"?>
<a:theme xmlns:a="http://schemas.openxmlformats.org/drawingml/2006/main" name="1_SAP 2022 16x9 black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3" id="{98983C72-2C42-1B4B-ADCB-83524493A2CE}" vid="{01356D30-0C5C-804E-8623-53D30802886F}"/>
    </a:ext>
  </a:extLst>
</a:theme>
</file>

<file path=ppt/theme/theme3.xml><?xml version="1.0" encoding="utf-8"?>
<a:theme xmlns:a="http://schemas.openxmlformats.org/drawingml/2006/main" name="SAP 2022 16x9 blue">
  <a:themeElements>
    <a:clrScheme name="SAP_Colors2018 - blue">
      <a:dk1>
        <a:srgbClr val="00195A"/>
      </a:dk1>
      <a:lt1>
        <a:srgbClr val="FFFFFF"/>
      </a:lt1>
      <a:dk2>
        <a:srgbClr val="CCCCCC"/>
      </a:dk2>
      <a:lt2>
        <a:srgbClr val="999999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0076CB"/>
      </a:hlink>
      <a:folHlink>
        <a:srgbClr val="0076CB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1_16x9_black_and_white" id="{216A5BC3-3210-D145-B37A-A20539300A3E}" vid="{B1CCA417-3311-6E47-9308-B7B054F4E377}"/>
    </a:ext>
  </a:extLst>
</a:theme>
</file>

<file path=ppt/theme/theme4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{"name":"SAPLogo","value":"YvFCCJr4i9NpRnrWPXVTMQFUGzuS1IzMqMdk8FuaIpA="},{"name":"Classification","value":"bNSU3Pw4Gyc4shCtJaykrx0wvtlxo5J8zr5MhVcSZRA="},{"name":"SpeakerName","value":"RNz3HBsByt6aZUF+n+m9vw=="},{"name":"Email","value":"UNDLzHYYlqDDq3jI4jyUqdfNCGFDKfrBAEO7RzFyD8M="}]}]]></TemplafyFormConfiguration>
</file>

<file path=customXml/item11.xml><?xml version="1.0" encoding="utf-8"?>
<TemplafySlideTemplateConfiguration><![CDATA[{"slideVersion":1,"isValidatorEnabled":false,"isLocked":false,"elementsMetadata":[{"elementConfiguration":{"binding":"{{Form.Email}}","disableUpdates":false,"type":"text"},"type":"shape"},{"elementConfiguration":{"binding":"{{Form.SpeakerName}}","disableUpdates":false,"type":"text"},"type":"shape"},{"elementConfiguration":{"image":"{{Form.SAPLogo.LogoWhite}}","disableUpdates":false,"type":"image"},"type":"shape"},{"elementConfiguration":{"image":"{{Form.SAPLogo.SubbrandWhite}}","visibility":"{{IfElse(Equals(Form.SAPLogo.HideSubBrandShape, \"Yes\"), VisibilityType.Hidden, VisibilityType.Visible)}}","disableUpdates":false,"type":"image"},"type":"shape"}],"slideId":"637879497279863482","enableDocumentContentUpdater":true,"version":"2.0"}]]></TemplafySlideTemplateConfiguration>
</file>

<file path=customXml/item12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062023","enableDocumentContentUpdater":true,"version":"2.0"}]]></TemplafySlideTemplateConfiguration>
</file>

<file path=customXml/item13.xml><?xml version="1.0" encoding="utf-8"?>
<TemplafySlideTemplateConfiguration><![CDATA[{"slideVersion":1,"isValidatorEnabled":false,"isLocked":false,"elementsMetadata":[{"type":"shape","elementConfiguration":{"image":"{{Form.SAPLogo.LogoWhite}}","disableUpdates":false,"type":"image"}},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binding":"{{DataSources.Classification[Form.Classification.Name].Display}}","disableUpdates":false,"type":"text"}},{"type":"shape","elementConfiguration":{"binding":"{{FormatDateTime(Form.Date,\"MMMM dd, yyyy\",\"en-US\")}}","disableUpdates":false,"type":"text"}},{"type":"shape","elementConfiguration":{"binding":"{{StringJoin(\", \", Form.SpeakerName,\"SAP\")}}","disableUpdates":false,"type":"text"}}],"slideId":"637839697263203476","enableDocumentContentUpdater":true,"version":"2.0"}]]></TemplafySlideTemplateConfiguration>
</file>

<file path=customXml/item14.xml><?xml version="1.0" encoding="utf-8"?>
<TemplafyTemplateConfiguration><![CDATA[{"elementsMetadata":[{"elementConfiguration":{"binding":"{{ DataSources.Classification[Form.Classification.Name].Display}}","disableUpdates":false,"type":"text"},"type":"shape","id":"3fb88df3-eaa2-4d6d-adef-56a3d48829d6"},{"elementConfiguration":{"binding":"{{DataSources.Classification[Form.Classification.Name].Display}}","disableUpdates":false,"type":"text"},"type":"shape","id":"426829f3-a068-40dd-990f-0d6c65b91b0a"},{"elementConfiguration":{"binding":"{{ DataSources.Classification[Form.Classification.Name].Display}}","disableUpdates":false,"type":"text"},"type":"shape","id":"a3036962-ab0a-4906-9dc7-289e0866334f"},{"elementConfiguration":{"image":"{{Form.SAPLogo.LogoWhite}}","disableUpdates":false,"type":"image"},"type":"shape","id":"ae45ed68-1fba-481a-9e2e-8199ba46a6fa"},{"elementConfiguration":{"image":"{{Form.SAPLogo.SubbrandWhite}}","visibility":"{{IfElse(Equals(Form.SAPLogo.HideSubBrandShape, \"Yes\"), VisibilityType.Hidden, VisibilityType.Visible)}}","disableUpdates":false,"type":"image"},"type":"shape","id":"804b0718-9d30-40d9-b880-804c2c6a8f91"},{"elementConfiguration":{"image":"{{Form.SAPLogo.LogoWhite}}","disableUpdates":false,"type":"image"},"type":"shape","id":"c0ff24a6-f1b8-4855-acc4-f1f8bbca6a19"},{"elementConfiguration":{"image":"{{Form.SAPLogo.SubbrandWhite}}","visibility":"{{IfElse(Equals(Form.SAPLogo.HideSubBrandShape, \"Yes\"), VisibilityType.Hidden, VisibilityType.Visible)}}","disableUpdates":false,"type":"image"},"type":"shape","id":"df6636db-4fa9-4cc3-8130-7d8480cc7843"},{"elementConfiguration":{"binding":"{{DataSources.Classification[Form.Classification.Name].Display}}","disableUpdates":false,"type":"text"},"type":"shape","id":"da9efa7b-f1b2-4722-a2c6-09845d195021"},{"elementConfiguration":{"image":"{{Form.SAPLogo.LogoWhite}}","disableUpdates":false,"type":"image"},"type":"shape","id":"402c8ce8-a81b-4048-8a0c-cee33fc6797f"},{"elementConfiguration":{"binding":"{{DataSources.Classification[Form.Classification.Name].Display}}","disableUpdates":false,"type":"text"},"type":"shape","id":"6629b764-d54b-4b26-b57c-ab43c5653963"},{"elementConfiguration":{"image":"{{Form.SAPLogo.SubbrandWhite}}","visibility":"{{IfElse(Equals(Form.SAPLogo.HideSubBrandShape, \"Yes\"), VisibilityType.Hidden, VisibilityType.Visible)}}","disableUpdates":false,"type":"image"},"type":"shape","id":"39d55afe-04d6-4233-bda9-8cfb0d3f696f"},{"elementConfiguration":{"image":"{{Form.SAPLogo.LogoWhite}}","disableUpdates":false,"type":"image"},"type":"shape","id":"03c2cf17-0e91-4b98-9cd7-780b9713135f"},{"elementConfiguration":{"image":"{{Form.SAPLogo.SubbrandWhite}}","visibility":"{{IfElse(Equals(Form.SAPLogo.HideSubBrandShape, \"Yes\"), VisibilityType.Hidden, VisibilityType.Visible)}}","disableUpdates":false,"type":"image"},"type":"shape","id":"7a4a5237-4ac1-4ba5-87f6-3a6f6ea346ef"},{"elementConfiguration":{"binding":"{{DataSources.Classification[Form.Classification.Name].Display}}","disableUpdates":false,"type":"text"},"type":"shape","id":"c9374d9c-bc2f-4ea9-9d1f-fe5a9d37ced1"},{"elementConfiguration":{"image":"{{Form.SAPLogo.LogoWhite}}","disableUpdates":false,"type":"image"},"type":"shape","id":"87f23f44-5671-4d59-aa70-a56fa79f0d38"},{"elementConfiguration":{"image":"{{Form.SAPLogo.SubbrandWhite}}","visibility":"{{IfElse(Equals(Form.SAPLogo.HideSubBrandShape, \"Yes\"), VisibilityType.Hidden, VisibilityType.Visible)}}","disableUpdates":false,"type":"image"},"type":"shape","id":"a6690f6d-12a0-4492-989f-ee7248cf29b2"},{"elementConfiguration":{"binding":"{{DataSources.Classification[Form.Classification.Name].Display}}","disableUpdates":false,"type":"text"},"type":"shape","id":"aa182e57-eaf6-4b28-ad8b-c8b5f60f74e9"},{"elementConfiguration":{"image":"{{Form.SAPLogo.LogoBlack}}","disableUpdates":false,"type":"image"},"type":"shape","id":"c48f26f3-9de5-454c-b9e3-1027bb297583"},{"elementConfiguration":{"image":"{{Form.SAPLogo.SubbrandBlack}}","visibility":"{{IfElse(Equals(Form.SAPLogo.HideSubBrandShape, \"Yes\"), VisibilityType.Hidden, VisibilityType.Visible)}}","disableUpdates":false,"type":"image"},"type":"shape","id":"efb4975c-edd3-4d8e-9801-9d8ad09e48ba"},{"elementConfiguration":{"binding":"{{DataSources.Classification[Form.Classification.Name].Display}}","disableUpdates":false,"type":"text"},"type":"shape","id":"839dfe1a-fefb-4712-b006-6ab74fa63a04"},{"elementConfiguration":{"binding":"{{FormatDateTime(Form.Date,\"MMMM dd, yyyy\",\"en-US\")}}","disableUpdates":false,"type":"text"},"type":"shape","id":"729e91d1-99e8-4600-9712-f74a034a28fa"},{"elementConfiguration":{"binding":"{{StringJoin(\", \", Form.SpeakerName,\"SAP\")}}","disableUpdates":false,"type":"text"},"type":"shape","id":"a49bfef0-b13b-4167-91a7-798b49fd6e80"},{"elementConfiguration":{"image":"{{Form.SAPLogo.LogoBlack}}","disableUpdates":false,"type":"image"},"type":"shape","id":"8fa580e0-60de-4859-826c-3f778bb1c634"},{"elementConfiguration":{"binding":"{{DataSources.Classification[Form.Classification.Name].Display}}","disableUpdates":false,"type":"text"},"type":"shape","id":"8177ae73-b222-4795-94bc-12148a67715b"},{"elementConfiguration":{"image":"{{Form.SAPLogo.SubbrandBlack}}","visibility":"{{IfElse(Equals(Form.SAPLogo.HideSubBrandShape, \"Yes\"), VisibilityType.Hidden, VisibilityType.Visible)}}","disableUpdates":false,"type":"image"},"type":"shape","id":"3360383a-7530-4253-982f-54c9c739b23d"},{"elementConfiguration":{"binding":"{{DataSources.Classification[Form.Classification.Name].Display}}","disableUpdates":false,"type":"text"},"type":"shape","id":"b0a39dc1-5cf9-4ab8-82f5-437452eed83b"},{"elementConfiguration":{"binding":"{{FormatDateTime(Form.Date,\"MMMM dd, yyyy\",\"en-US\")}}","disableUpdates":false,"type":"text"},"type":"shape","id":"574ae19f-685f-4760-bc9a-612c1d5117bf"},{"elementConfiguration":{"binding":"{{StringJoin(\", \", Form.SpeakerName,\"SAP\")}}","disableUpdates":false,"type":"text"},"type":"shape","id":"26c22a0a-39cb-4e29-b885-386f933c6934"},{"elementConfiguration":{"image":"{{Form.SAPLogo.LogoBlack}}","disableUpdates":false,"type":"image"},"type":"shape","id":"d575aaf5-e081-48ee-afd8-a7f18869d748"},{"elementConfiguration":{"binding":"{{DataSources.Classification[Form.Classification.Name].Display}}","disableUpdates":false,"type":"text"},"type":"shape","id":"cff6036f-bd4e-482f-9d33-c867e44eb4db"},{"elementConfiguration":{"image":"{{Form.SAPLogo.SubbrandBlack}}","visibility":"{{IfElse(Equals(Form.SAPLogo.HideSubBrandShape, \"Yes\"), VisibilityType.Hidden, VisibilityType.Visible)}}","disableUpdates":false,"type":"image"},"type":"shape","id":"d0975669-fd1a-479f-a155-686ec3b49497"},{"elementConfiguration":{"binding":"{{DataSources.Classification[Form.Classification.Name].Display}}","disableUpdates":false,"type":"text"},"type":"shape","id":"de83b89e-06f8-4a66-bc78-e0ce11a647df"},{"elementConfiguration":{"binding":"{{FormatDateTime(Form.Date,\"MMMM dd, yyyy\",\"en-US\")}}","disableUpdates":false,"type":"text"},"type":"shape","id":"750ae7db-3190-4f26-9cf0-70c9bae50bf6"},{"elementConfiguration":{"binding":"{{StringJoin(\", \", Form.SpeakerName,\"SAP\")}}","disableUpdates":false,"type":"text"},"type":"shape","id":"02f54ec1-6a21-459e-adb1-999fde8be390"},{"elementConfiguration":{"image":"{{Form.SAPLogo.LogoBlack}}","disableUpdates":false,"type":"image"},"type":"shape","id":"43bd4141-03ec-42e8-932a-bf9d012495f4"},{"elementConfiguration":{"image":"{{Form.SAPLogo.SubbrandBlack}}","visibility":"{{IfElse(Equals(Form.SAPLogo.HideSubBrandShape, \"Yes\"), VisibilityType.Hidden, VisibilityType.Visible)}}","disableUpdates":false,"type":"image"},"type":"shape","id":"5f013b52-6a7f-41f0-aa25-c97897731de0"},{"elementConfiguration":{"binding":"{{Form.SpeakerName}}","disableUpdates":false,"type":"text"},"type":"shape","id":"2e815dc4-b8aa-4b52-950e-8b2f00e4124f"},{"elementConfiguration":{"binding":"{{Form.Email}}","disableUpdates":false,"type":"text"},"type":"shape","id":"9cfdf92a-b699-438c-903f-0473215e6f41"},{"elementConfiguration":{"binding":"{{FormatDateTime(Form.Date,\"MMMM dd, yyyy\",\"en-US\")}}","disableUpdates":false,"type":"text"},"type":"shape","id":"ebb29b36-d22b-4f53-beba-a2332872191f"},{"elementConfiguration":{"binding":"{{StringJoin(\", \", Form.SpeakerName,\"SAP\")}}","disableUpdates":false,"type":"text"},"type":"shape","id":"d9d69332-65b8-4088-93a3-c61bed7d1a26"},{"elementConfiguration":{"binding":"{{StringJoin(\", \", Form.SpeakerName,\"SAP\")}}","disableUpdates":false,"type":"text"},"type":"shape","id":"2458dd32-e862-441c-976c-e40162160342"},{"elementConfiguration":{"binding":"{{FormatDateTime(Form.Date,\"MMMM dd, yyyy\",\"en-US\")}}","disableUpdates":false,"type":"text"},"type":"shape","id":"9dc281a2-1515-4b5f-a329-a0d12cab3869"},{"elementConfiguration":{"binding":"{{FormatDateTime(Form.Date,\"MMMM dd, yyyy\",\"en-US\")}}","disableUpdates":false,"type":"text"},"type":"shape","id":"9b29954b-42c6-4240-987c-8b8fefce57cb"},{"elementConfiguration":{"binding":"{{StringJoin(\", \", Form.SpeakerName,\"SAP\")}}","disableUpdates":false,"type":"text"},"type":"shape","id":"42dfa081-e584-4a42-9a92-1d6bc1480e74"},{"elementConfiguration":{"binding":"{{FormatDateTime(Form.Date,\"MMMM dd, yyyy\",\"en-US\")}}","disableUpdates":false,"type":"text"},"type":"shape","id":"98b2335e-1303-4ca6-bd74-42353843bc50"},{"elementConfiguration":{"binding":"{{StringJoin(\", \", Form.SpeakerName,\"SAP\")}}","disableUpdates":false,"type":"text"},"type":"shape","id":"1e266ec8-accb-48ec-ae31-8a0f9ab68444"},{"elementConfiguration":{"binding":"{{Form.Email}}","disableUpdates":false,"type":"text"},"type":"shape","id":"c5795077-d4a2-4854-b837-dc0c6a3645fe"},{"elementConfiguration":{"binding":"{{Form.SpeakerName}}","disableUpdates":false,"type":"text"},"type":"shape","id":"a94a922e-fddc-4f84-84f2-24578e6ee879"}],"transformationConfigurations":[],"templateName":"White Template","templateDescription":"","enableDocumentContentUpdater":true,"version":"2.0"}]]></TemplafyTemplateConfiguration>
</file>

<file path=customXml/item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5aa4ab1-e5db-41b4-880b-a0eaa6706781">
      <Terms xmlns="http://schemas.microsoft.com/office/infopath/2007/PartnerControls"/>
    </lcf76f155ced4ddcb4097134ff3c332f>
    <TaxCatchAll xmlns="5203032f-6d9a-47f3-9010-dafb4fbb4d0c" xsi:nil="true"/>
  </documentManagement>
</p:properties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1,"isValidatorEnabled":false,"isLocked":false,"elementsMetadata":[],"slideId":"637546847219967368","enableDocumentContentUpdater":false,"version":"2.0"}]]></TemplafySlideTemplate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C44C1E076F384B9D9B90296066EE3A" ma:contentTypeVersion="12" ma:contentTypeDescription="Create a new document." ma:contentTypeScope="" ma:versionID="e96ce0d0bd72a9b4077de74fa7af5c3c">
  <xsd:schema xmlns:xsd="http://www.w3.org/2001/XMLSchema" xmlns:xs="http://www.w3.org/2001/XMLSchema" xmlns:p="http://schemas.microsoft.com/office/2006/metadata/properties" xmlns:ns2="b5aa4ab1-e5db-41b4-880b-a0eaa6706781" xmlns:ns3="5203032f-6d9a-47f3-9010-dafb4fbb4d0c" targetNamespace="http://schemas.microsoft.com/office/2006/metadata/properties" ma:root="true" ma:fieldsID="ba1ed509efd34c2a84e3225b0031967b" ns2:_="" ns3:_="">
    <xsd:import namespace="b5aa4ab1-e5db-41b4-880b-a0eaa6706781"/>
    <xsd:import namespace="5203032f-6d9a-47f3-9010-dafb4fbb4d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aa4ab1-e5db-41b4-880b-a0eaa67067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03032f-6d9a-47f3-9010-dafb4fbb4d0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078f7dd-7d5f-4fd8-8fe2-148d525a1518}" ma:internalName="TaxCatchAll" ma:showField="CatchAllData" ma:web="5203032f-6d9a-47f3-9010-dafb4fbb4d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FormConfiguration><![CDATA[{"formFields":[{"dataSourceName":"PPTSubBrandLogos","dataSourceFieldName":"Name","distinct":false,"hideIfNoUserInteractionRequired":false,"required":true,"autoSelectFirstOption":false,"shareValue":false,"type":"dropDown","name":"SAPLogo","label":"Select Templ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]}]]></TemplafySlideFormConfiguration>
</file>

<file path=customXml/item5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106563","enableDocumentContentUpdater":true,"version":"2.0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.xml><?xml version="1.0" encoding="utf-8"?>
<TemplafySlideTemplateConfiguration><![CDATA[{"slideVersion":1,"isValidatorEnabled":false,"isLocked":false,"elementsMetadata":[],"slideId":"637879497279717699","enableDocumentContentUpdater":true,"version":"2.0"}]]></TemplafySlideTemplateConfiguration>
</file>

<file path=customXml/itemProps1.xml><?xml version="1.0" encoding="utf-8"?>
<ds:datastoreItem xmlns:ds="http://schemas.openxmlformats.org/officeDocument/2006/customXml" ds:itemID="{60467ADA-75A7-4361-8C2B-20A1B5C79660}">
  <ds:schemaRefs/>
</ds:datastoreItem>
</file>

<file path=customXml/itemProps10.xml><?xml version="1.0" encoding="utf-8"?>
<ds:datastoreItem xmlns:ds="http://schemas.openxmlformats.org/officeDocument/2006/customXml" ds:itemID="{CC49FFC8-2FF3-4057-96F0-3BCD1A4F0351}">
  <ds:schemaRefs/>
</ds:datastoreItem>
</file>

<file path=customXml/itemProps11.xml><?xml version="1.0" encoding="utf-8"?>
<ds:datastoreItem xmlns:ds="http://schemas.openxmlformats.org/officeDocument/2006/customXml" ds:itemID="{382C1131-6B8B-4A16-9A07-4A3F53982264}">
  <ds:schemaRefs/>
</ds:datastoreItem>
</file>

<file path=customXml/itemProps12.xml><?xml version="1.0" encoding="utf-8"?>
<ds:datastoreItem xmlns:ds="http://schemas.openxmlformats.org/officeDocument/2006/customXml" ds:itemID="{60143FF3-3290-430A-B2BD-45BEBE6E80B1}">
  <ds:schemaRefs/>
</ds:datastoreItem>
</file>

<file path=customXml/itemProps13.xml><?xml version="1.0" encoding="utf-8"?>
<ds:datastoreItem xmlns:ds="http://schemas.openxmlformats.org/officeDocument/2006/customXml" ds:itemID="{AC186CB8-DE82-4000-AAC9-4B44A24DF3D8}">
  <ds:schemaRefs/>
</ds:datastoreItem>
</file>

<file path=customXml/itemProps14.xml><?xml version="1.0" encoding="utf-8"?>
<ds:datastoreItem xmlns:ds="http://schemas.openxmlformats.org/officeDocument/2006/customXml" ds:itemID="{626BBCBB-1894-4E66-BA48-9E91CE3ACBA0}">
  <ds:schemaRefs/>
</ds:datastoreItem>
</file>

<file path=customXml/itemProps15.xml><?xml version="1.0" encoding="utf-8"?>
<ds:datastoreItem xmlns:ds="http://schemas.openxmlformats.org/officeDocument/2006/customXml" ds:itemID="{C1422F45-04DB-421D-8796-270006657806}">
  <ds:schemaRefs>
    <ds:schemaRef ds:uri="5203032f-6d9a-47f3-9010-dafb4fbb4d0c"/>
    <ds:schemaRef ds:uri="b5aa4ab1-e5db-41b4-880b-a0eaa67067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.xml><?xml version="1.0" encoding="utf-8"?>
<ds:datastoreItem xmlns:ds="http://schemas.openxmlformats.org/officeDocument/2006/customXml" ds:itemID="{A9F7EF9C-AD0B-44D8-977A-293A59A8496B}">
  <ds:schemaRefs/>
</ds:datastoreItem>
</file>

<file path=customXml/itemProps17.xml><?xml version="1.0" encoding="utf-8"?>
<ds:datastoreItem xmlns:ds="http://schemas.openxmlformats.org/officeDocument/2006/customXml" ds:itemID="{6676DF0E-1FCC-47B2-AA1F-7966BD03FC82}">
  <ds:schemaRefs/>
</ds:datastoreItem>
</file>

<file path=customXml/itemProps2.xml><?xml version="1.0" encoding="utf-8"?>
<ds:datastoreItem xmlns:ds="http://schemas.openxmlformats.org/officeDocument/2006/customXml" ds:itemID="{CE6C8EE9-E091-493A-9E13-2CE4C3DA7E88}">
  <ds:schemaRefs/>
</ds:datastoreItem>
</file>

<file path=customXml/itemProps3.xml><?xml version="1.0" encoding="utf-8"?>
<ds:datastoreItem xmlns:ds="http://schemas.openxmlformats.org/officeDocument/2006/customXml" ds:itemID="{23F4F2ED-0CC3-4D0A-A793-DF2880E5B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aa4ab1-e5db-41b4-880b-a0eaa6706781"/>
    <ds:schemaRef ds:uri="5203032f-6d9a-47f3-9010-dafb4fbb4d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0A6F4D9-E835-43D5-8E7C-6E2A09B1A547}">
  <ds:schemaRefs/>
</ds:datastoreItem>
</file>

<file path=customXml/itemProps5.xml><?xml version="1.0" encoding="utf-8"?>
<ds:datastoreItem xmlns:ds="http://schemas.openxmlformats.org/officeDocument/2006/customXml" ds:itemID="{F9415C09-7C35-4E43-8058-C2F9C640DD7F}">
  <ds:schemaRefs/>
</ds:datastoreItem>
</file>

<file path=customXml/itemProps6.xml><?xml version="1.0" encoding="utf-8"?>
<ds:datastoreItem xmlns:ds="http://schemas.openxmlformats.org/officeDocument/2006/customXml" ds:itemID="{7F6898E6-9ADD-4538-B0E5-FC21C8DB6903}">
  <ds:schemaRefs/>
</ds:datastoreItem>
</file>

<file path=customXml/itemProps7.xml><?xml version="1.0" encoding="utf-8"?>
<ds:datastoreItem xmlns:ds="http://schemas.openxmlformats.org/officeDocument/2006/customXml" ds:itemID="{099A12C3-1BD4-4D9A-BAAC-1927D61656DB}">
  <ds:schemaRefs/>
</ds:datastoreItem>
</file>

<file path=customXml/itemProps8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9.xml><?xml version="1.0" encoding="utf-8"?>
<ds:datastoreItem xmlns:ds="http://schemas.openxmlformats.org/officeDocument/2006/customXml" ds:itemID="{97E3BD22-8559-41C7-B32B-85AADBCE322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</TotalTime>
  <Words>1705</Words>
  <Application>Microsoft Office PowerPoint</Application>
  <PresentationFormat>Custom</PresentationFormat>
  <Paragraphs>239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9" baseType="lpstr">
      <vt:lpstr>72</vt:lpstr>
      <vt:lpstr>Arial</vt:lpstr>
      <vt:lpstr>Arial Black</vt:lpstr>
      <vt:lpstr>Calibri</vt:lpstr>
      <vt:lpstr>Courier New</vt:lpstr>
      <vt:lpstr>Symbol</vt:lpstr>
      <vt:lpstr>System Font Regular</vt:lpstr>
      <vt:lpstr>Wingdings</vt:lpstr>
      <vt:lpstr>Wingdings</vt:lpstr>
      <vt:lpstr>SAP 2022 16x9 white</vt:lpstr>
      <vt:lpstr>1_SAP 2022 16x9 black</vt:lpstr>
      <vt:lpstr>SAP 2022 16x9 blue</vt:lpstr>
      <vt:lpstr>think-cell Slide</vt:lpstr>
      <vt:lpstr>DT262- Execute Bots Rapidly in SAP S/4HANA Cloud with SAP Built Process Automation</vt:lpstr>
      <vt:lpstr>Agenda</vt:lpstr>
      <vt:lpstr>SAP Build Process Automation </vt:lpstr>
      <vt:lpstr>The path to SAP Process Automation Move to process automation at your own speed or make a fresh start</vt:lpstr>
      <vt:lpstr>Introducing SAP Build Process Automation  Capabilities: citizen automation for line-of-business builders</vt:lpstr>
      <vt:lpstr>Solution Overview</vt:lpstr>
      <vt:lpstr>Citizen developer workflow and automation in ONE product experience</vt:lpstr>
      <vt:lpstr>Extend SAP S/4HANA Cloud Pre-built Content with Workflow  </vt:lpstr>
      <vt:lpstr>Accelerate business transformation with prebuilt content packages</vt:lpstr>
      <vt:lpstr>The end-to-end value of business process intelligence From process insights and customer experience to process automation and improvement </vt:lpstr>
      <vt:lpstr>PowerPoint Presentation</vt:lpstr>
      <vt:lpstr>Process Automation is at the core of cloud business applications Expanding from embedded to cross-LoB is an imperative to serve customer needs</vt:lpstr>
      <vt:lpstr>Hands-on Exercise Flow</vt:lpstr>
      <vt:lpstr>Additional TechEd sessions</vt:lpstr>
      <vt:lpstr>Open new career opportunities Join the community of people with skills for the futur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SAP</dc:creator>
  <cp:keywords>2022/16:9/white</cp:keywords>
  <dc:description/>
  <cp:lastModifiedBy>Chen, Chuck</cp:lastModifiedBy>
  <cp:revision>7</cp:revision>
  <dcterms:created xsi:type="dcterms:W3CDTF">2022-08-30T06:19:10Z</dcterms:created>
  <dcterms:modified xsi:type="dcterms:W3CDTF">2022-11-01T20:50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01452479</vt:i4>
  </property>
  <property fmtid="{D5CDD505-2E9C-101B-9397-08002B2CF9AE}" pid="3" name="_NewReviewCycle">
    <vt:lpwstr/>
  </property>
  <property fmtid="{D5CDD505-2E9C-101B-9397-08002B2CF9AE}" pid="4" name="_EmailSubject">
    <vt:lpwstr>SAP - PPT Exploration (Updated)</vt:lpwstr>
  </property>
  <property fmtid="{D5CDD505-2E9C-101B-9397-08002B2CF9AE}" pid="5" name="_AuthorEmail">
    <vt:lpwstr>heidi.bitz@sap.com</vt:lpwstr>
  </property>
  <property fmtid="{D5CDD505-2E9C-101B-9397-08002B2CF9AE}" pid="6" name="_AuthorEmailDisplayName">
    <vt:lpwstr>Bitz, Heidi</vt:lpwstr>
  </property>
  <property fmtid="{D5CDD505-2E9C-101B-9397-08002B2CF9AE}" pid="7" name="_PreviousAdHocReviewCycleID">
    <vt:i4>1357826825</vt:i4>
  </property>
  <property fmtid="{D5CDD505-2E9C-101B-9397-08002B2CF9AE}" pid="8" name="ContentTypeId">
    <vt:lpwstr>0x010100A9C44C1E076F384B9D9B90296066EE3A</vt:lpwstr>
  </property>
  <property fmtid="{D5CDD505-2E9C-101B-9397-08002B2CF9AE}" pid="9" name="TemplafyTimeStamp">
    <vt:lpwstr>2022-07-04T13:53:54</vt:lpwstr>
  </property>
  <property fmtid="{D5CDD505-2E9C-101B-9397-08002B2CF9AE}" pid="10" name="TemplafyTenantId">
    <vt:lpwstr>sap</vt:lpwstr>
  </property>
  <property fmtid="{D5CDD505-2E9C-101B-9397-08002B2CF9AE}" pid="11" name="TemplafyTemplateId">
    <vt:lpwstr>637750826308903787</vt:lpwstr>
  </property>
  <property fmtid="{D5CDD505-2E9C-101B-9397-08002B2CF9AE}" pid="12" name="TemplafyUserProfileId">
    <vt:lpwstr>637708447922820190</vt:lpwstr>
  </property>
  <property fmtid="{D5CDD505-2E9C-101B-9397-08002B2CF9AE}" pid="13" name="TemplafyLanguageCode">
    <vt:lpwstr>en-US</vt:lpwstr>
  </property>
  <property fmtid="{D5CDD505-2E9C-101B-9397-08002B2CF9AE}" pid="14" name="TemplafyFromBlank">
    <vt:bool>false</vt:bool>
  </property>
  <property fmtid="{D5CDD505-2E9C-101B-9397-08002B2CF9AE}" pid="15" name="MediaServiceImageTags">
    <vt:lpwstr/>
  </property>
</Properties>
</file>